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notesSlides/notesSlide1.xml" ContentType="application/vnd.openxmlformats-officedocument.presentationml.notesSlide+xml"/>
  <Override PartName="/ppt/tags/tag106.xml" ContentType="application/vnd.openxmlformats-officedocument.presentationml.tags+xml"/>
  <Override PartName="/ppt/notesSlides/notesSlide2.xml" ContentType="application/vnd.openxmlformats-officedocument.presentationml.notesSlide+xml"/>
  <Override PartName="/ppt/tags/tag107.xml" ContentType="application/vnd.openxmlformats-officedocument.presentationml.tags+xml"/>
  <Override PartName="/ppt/notesSlides/notesSlide3.xml" ContentType="application/vnd.openxmlformats-officedocument.presentationml.notesSlide+xml"/>
  <Override PartName="/ppt/tags/tag108.xml" ContentType="application/vnd.openxmlformats-officedocument.presentationml.tags+xml"/>
  <Override PartName="/ppt/notesSlides/notesSlide4.xml" ContentType="application/vnd.openxmlformats-officedocument.presentationml.notesSlide+xml"/>
  <Override PartName="/ppt/tags/tag109.xml" ContentType="application/vnd.openxmlformats-officedocument.presentationml.tags+xml"/>
  <Override PartName="/ppt/notesSlides/notesSlide5.xml" ContentType="application/vnd.openxmlformats-officedocument.presentationml.notesSlide+xml"/>
  <Override PartName="/ppt/tags/tag110.xml" ContentType="application/vnd.openxmlformats-officedocument.presentationml.tags+xml"/>
  <Override PartName="/ppt/notesSlides/notesSlide6.xml" ContentType="application/vnd.openxmlformats-officedocument.presentationml.notesSlide+xml"/>
  <Override PartName="/ppt/tags/tag111.xml" ContentType="application/vnd.openxmlformats-officedocument.presentationml.tags+xml"/>
  <Override PartName="/ppt/notesSlides/notesSlide7.xml" ContentType="application/vnd.openxmlformats-officedocument.presentationml.notesSlide+xml"/>
  <Override PartName="/ppt/tags/tag112.xml" ContentType="application/vnd.openxmlformats-officedocument.presentationml.tags+xml"/>
  <Override PartName="/ppt/notesSlides/notesSlide8.xml" ContentType="application/vnd.openxmlformats-officedocument.presentationml.notesSlide+xml"/>
  <Override PartName="/ppt/tags/tag113.xml" ContentType="application/vnd.openxmlformats-officedocument.presentationml.tags+xml"/>
  <Override PartName="/ppt/notesSlides/notesSlide9.xml" ContentType="application/vnd.openxmlformats-officedocument.presentationml.notesSlide+xml"/>
  <Override PartName="/ppt/tags/tag114.xml" ContentType="application/vnd.openxmlformats-officedocument.presentationml.tags+xml"/>
  <Override PartName="/ppt/notesSlides/notesSlide10.xml" ContentType="application/vnd.openxmlformats-officedocument.presentationml.notesSlide+xml"/>
  <Override PartName="/ppt/tags/tag115.xml" ContentType="application/vnd.openxmlformats-officedocument.presentationml.tags+xml"/>
  <Override PartName="/ppt/notesSlides/notesSlide11.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25"/>
  </p:notesMasterIdLst>
  <p:handoutMasterIdLst>
    <p:handoutMasterId r:id="rId26"/>
  </p:handoutMasterIdLst>
  <p:sldIdLst>
    <p:sldId id="256" r:id="rId13"/>
    <p:sldId id="2157" r:id="rId14"/>
    <p:sldId id="2011" r:id="rId15"/>
    <p:sldId id="2012" r:id="rId16"/>
    <p:sldId id="2013" r:id="rId17"/>
    <p:sldId id="2014" r:id="rId18"/>
    <p:sldId id="2015" r:id="rId19"/>
    <p:sldId id="2016" r:id="rId20"/>
    <p:sldId id="2017" r:id="rId21"/>
    <p:sldId id="2018" r:id="rId22"/>
    <p:sldId id="2019" r:id="rId23"/>
    <p:sldId id="2149"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EFCE"/>
    <a:srgbClr val="EBF6DE"/>
    <a:srgbClr val="D9D9D9"/>
    <a:srgbClr val="F7F7F7"/>
    <a:srgbClr val="92D050"/>
    <a:srgbClr val="FF000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ECC49D-7A68-4840-B1A5-D11056984AA1}" v="2" dt="2023-01-30T05:32:01.3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39" autoAdjust="0"/>
    <p:restoredTop sz="94987" autoAdjust="0"/>
  </p:normalViewPr>
  <p:slideViewPr>
    <p:cSldViewPr snapToGrid="0">
      <p:cViewPr varScale="1">
        <p:scale>
          <a:sx n="56" d="100"/>
          <a:sy n="56" d="100"/>
        </p:scale>
        <p:origin x="128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72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9.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64B1940C-EE70-441F-A583-16AE057539F0}"/>
    <pc:docChg chg="addSld delSld modSld">
      <pc:chgData name="Aurelien Domont" userId="6da7715ce44349b3" providerId="LiveId" clId="{64B1940C-EE70-441F-A583-16AE057539F0}" dt="2021-05-11T09:04:03.120" v="49" actId="20577"/>
      <pc:docMkLst>
        <pc:docMk/>
      </pc:docMkLst>
      <pc:sldChg chg="modSp mod">
        <pc:chgData name="Aurelien Domont" userId="6da7715ce44349b3" providerId="LiveId" clId="{64B1940C-EE70-441F-A583-16AE057539F0}" dt="2021-05-11T08:49:30.451" v="7" actId="14100"/>
        <pc:sldMkLst>
          <pc:docMk/>
          <pc:sldMk cId="3131901387" sldId="256"/>
        </pc:sldMkLst>
        <pc:spChg chg="mod">
          <ac:chgData name="Aurelien Domont" userId="6da7715ce44349b3" providerId="LiveId" clId="{64B1940C-EE70-441F-A583-16AE057539F0}" dt="2021-05-11T08:49:30.451" v="7" actId="14100"/>
          <ac:spMkLst>
            <pc:docMk/>
            <pc:sldMk cId="3131901387" sldId="256"/>
            <ac:spMk id="2" creationId="{5261080C-C60C-4746-B6B1-A9A4FFA86785}"/>
          </ac:spMkLst>
        </pc:spChg>
      </pc:sldChg>
      <pc:sldChg chg="del">
        <pc:chgData name="Aurelien Domont" userId="6da7715ce44349b3" providerId="LiveId" clId="{64B1940C-EE70-441F-A583-16AE057539F0}" dt="2021-05-11T08:47:44.796" v="0" actId="47"/>
        <pc:sldMkLst>
          <pc:docMk/>
          <pc:sldMk cId="3692499981" sldId="1597"/>
        </pc:sldMkLst>
      </pc:sldChg>
      <pc:sldChg chg="del">
        <pc:chgData name="Aurelien Domont" userId="6da7715ce44349b3" providerId="LiveId" clId="{64B1940C-EE70-441F-A583-16AE057539F0}" dt="2021-05-11T08:47:44.796" v="0" actId="47"/>
        <pc:sldMkLst>
          <pc:docMk/>
          <pc:sldMk cId="1754585881" sldId="1598"/>
        </pc:sldMkLst>
      </pc:sldChg>
      <pc:sldChg chg="del">
        <pc:chgData name="Aurelien Domont" userId="6da7715ce44349b3" providerId="LiveId" clId="{64B1940C-EE70-441F-A583-16AE057539F0}" dt="2021-05-11T08:47:44.796" v="0" actId="47"/>
        <pc:sldMkLst>
          <pc:docMk/>
          <pc:sldMk cId="748962572" sldId="1599"/>
        </pc:sldMkLst>
      </pc:sldChg>
      <pc:sldChg chg="add del">
        <pc:chgData name="Aurelien Domont" userId="6da7715ce44349b3" providerId="LiveId" clId="{64B1940C-EE70-441F-A583-16AE057539F0}" dt="2021-05-11T08:52:10.258" v="25"/>
        <pc:sldMkLst>
          <pc:docMk/>
          <pc:sldMk cId="2853806433" sldId="1600"/>
        </pc:sldMkLst>
      </pc:sldChg>
      <pc:sldChg chg="del">
        <pc:chgData name="Aurelien Domont" userId="6da7715ce44349b3" providerId="LiveId" clId="{64B1940C-EE70-441F-A583-16AE057539F0}" dt="2021-05-11T08:48:02.617" v="1" actId="47"/>
        <pc:sldMkLst>
          <pc:docMk/>
          <pc:sldMk cId="317099162" sldId="1749"/>
        </pc:sldMkLst>
      </pc:sldChg>
      <pc:sldChg chg="del">
        <pc:chgData name="Aurelien Domont" userId="6da7715ce44349b3" providerId="LiveId" clId="{64B1940C-EE70-441F-A583-16AE057539F0}" dt="2021-05-11T08:48:02.617" v="1" actId="47"/>
        <pc:sldMkLst>
          <pc:docMk/>
          <pc:sldMk cId="4262757208" sldId="1792"/>
        </pc:sldMkLst>
      </pc:sldChg>
      <pc:sldChg chg="del">
        <pc:chgData name="Aurelien Domont" userId="6da7715ce44349b3" providerId="LiveId" clId="{64B1940C-EE70-441F-A583-16AE057539F0}" dt="2021-05-11T08:48:02.617" v="1" actId="47"/>
        <pc:sldMkLst>
          <pc:docMk/>
          <pc:sldMk cId="504490806" sldId="1796"/>
        </pc:sldMkLst>
      </pc:sldChg>
      <pc:sldChg chg="del">
        <pc:chgData name="Aurelien Domont" userId="6da7715ce44349b3" providerId="LiveId" clId="{64B1940C-EE70-441F-A583-16AE057539F0}" dt="2021-05-11T08:48:02.617" v="1" actId="47"/>
        <pc:sldMkLst>
          <pc:docMk/>
          <pc:sldMk cId="767058056" sldId="1797"/>
        </pc:sldMkLst>
      </pc:sldChg>
      <pc:sldChg chg="del">
        <pc:chgData name="Aurelien Domont" userId="6da7715ce44349b3" providerId="LiveId" clId="{64B1940C-EE70-441F-A583-16AE057539F0}" dt="2021-05-11T08:47:44.796" v="0" actId="47"/>
        <pc:sldMkLst>
          <pc:docMk/>
          <pc:sldMk cId="713437184" sldId="1882"/>
        </pc:sldMkLst>
      </pc:sldChg>
      <pc:sldChg chg="del">
        <pc:chgData name="Aurelien Domont" userId="6da7715ce44349b3" providerId="LiveId" clId="{64B1940C-EE70-441F-A583-16AE057539F0}" dt="2021-05-11T08:47:44.796" v="0" actId="47"/>
        <pc:sldMkLst>
          <pc:docMk/>
          <pc:sldMk cId="3792836084" sldId="1883"/>
        </pc:sldMkLst>
      </pc:sldChg>
      <pc:sldChg chg="del">
        <pc:chgData name="Aurelien Domont" userId="6da7715ce44349b3" providerId="LiveId" clId="{64B1940C-EE70-441F-A583-16AE057539F0}" dt="2021-05-11T08:47:44.796" v="0" actId="47"/>
        <pc:sldMkLst>
          <pc:docMk/>
          <pc:sldMk cId="3227587685" sldId="1884"/>
        </pc:sldMkLst>
      </pc:sldChg>
      <pc:sldChg chg="del">
        <pc:chgData name="Aurelien Domont" userId="6da7715ce44349b3" providerId="LiveId" clId="{64B1940C-EE70-441F-A583-16AE057539F0}" dt="2021-05-11T08:47:44.796" v="0" actId="47"/>
        <pc:sldMkLst>
          <pc:docMk/>
          <pc:sldMk cId="2820013767" sldId="1885"/>
        </pc:sldMkLst>
      </pc:sldChg>
      <pc:sldChg chg="del">
        <pc:chgData name="Aurelien Domont" userId="6da7715ce44349b3" providerId="LiveId" clId="{64B1940C-EE70-441F-A583-16AE057539F0}" dt="2021-05-11T08:47:44.796" v="0" actId="47"/>
        <pc:sldMkLst>
          <pc:docMk/>
          <pc:sldMk cId="3287084427" sldId="1886"/>
        </pc:sldMkLst>
      </pc:sldChg>
      <pc:sldChg chg="del">
        <pc:chgData name="Aurelien Domont" userId="6da7715ce44349b3" providerId="LiveId" clId="{64B1940C-EE70-441F-A583-16AE057539F0}" dt="2021-05-11T08:47:44.796" v="0" actId="47"/>
        <pc:sldMkLst>
          <pc:docMk/>
          <pc:sldMk cId="2955017529" sldId="1887"/>
        </pc:sldMkLst>
      </pc:sldChg>
      <pc:sldChg chg="del">
        <pc:chgData name="Aurelien Domont" userId="6da7715ce44349b3" providerId="LiveId" clId="{64B1940C-EE70-441F-A583-16AE057539F0}" dt="2021-05-11T08:47:44.796" v="0" actId="47"/>
        <pc:sldMkLst>
          <pc:docMk/>
          <pc:sldMk cId="3064639401" sldId="1889"/>
        </pc:sldMkLst>
      </pc:sldChg>
      <pc:sldChg chg="del">
        <pc:chgData name="Aurelien Domont" userId="6da7715ce44349b3" providerId="LiveId" clId="{64B1940C-EE70-441F-A583-16AE057539F0}" dt="2021-05-11T08:47:44.796" v="0" actId="47"/>
        <pc:sldMkLst>
          <pc:docMk/>
          <pc:sldMk cId="4203379594" sldId="1890"/>
        </pc:sldMkLst>
      </pc:sldChg>
      <pc:sldChg chg="del">
        <pc:chgData name="Aurelien Domont" userId="6da7715ce44349b3" providerId="LiveId" clId="{64B1940C-EE70-441F-A583-16AE057539F0}" dt="2021-05-11T08:47:44.796" v="0" actId="47"/>
        <pc:sldMkLst>
          <pc:docMk/>
          <pc:sldMk cId="2239563003" sldId="1892"/>
        </pc:sldMkLst>
      </pc:sldChg>
      <pc:sldChg chg="del">
        <pc:chgData name="Aurelien Domont" userId="6da7715ce44349b3" providerId="LiveId" clId="{64B1940C-EE70-441F-A583-16AE057539F0}" dt="2021-05-11T08:47:44.796" v="0" actId="47"/>
        <pc:sldMkLst>
          <pc:docMk/>
          <pc:sldMk cId="3677099460" sldId="1893"/>
        </pc:sldMkLst>
      </pc:sldChg>
      <pc:sldChg chg="del">
        <pc:chgData name="Aurelien Domont" userId="6da7715ce44349b3" providerId="LiveId" clId="{64B1940C-EE70-441F-A583-16AE057539F0}" dt="2021-05-11T08:48:02.617" v="1" actId="47"/>
        <pc:sldMkLst>
          <pc:docMk/>
          <pc:sldMk cId="3324303879" sldId="1917"/>
        </pc:sldMkLst>
      </pc:sldChg>
      <pc:sldChg chg="del">
        <pc:chgData name="Aurelien Domont" userId="6da7715ce44349b3" providerId="LiveId" clId="{64B1940C-EE70-441F-A583-16AE057539F0}" dt="2021-05-11T08:48:02.617" v="1" actId="47"/>
        <pc:sldMkLst>
          <pc:docMk/>
          <pc:sldMk cId="3738554192" sldId="1918"/>
        </pc:sldMkLst>
      </pc:sldChg>
      <pc:sldChg chg="del">
        <pc:chgData name="Aurelien Domont" userId="6da7715ce44349b3" providerId="LiveId" clId="{64B1940C-EE70-441F-A583-16AE057539F0}" dt="2021-05-11T08:48:02.617" v="1" actId="47"/>
        <pc:sldMkLst>
          <pc:docMk/>
          <pc:sldMk cId="4287792945" sldId="1919"/>
        </pc:sldMkLst>
      </pc:sldChg>
      <pc:sldChg chg="del">
        <pc:chgData name="Aurelien Domont" userId="6da7715ce44349b3" providerId="LiveId" clId="{64B1940C-EE70-441F-A583-16AE057539F0}" dt="2021-05-11T08:48:02.617" v="1" actId="47"/>
        <pc:sldMkLst>
          <pc:docMk/>
          <pc:sldMk cId="1711813648" sldId="1920"/>
        </pc:sldMkLst>
      </pc:sldChg>
      <pc:sldChg chg="del">
        <pc:chgData name="Aurelien Domont" userId="6da7715ce44349b3" providerId="LiveId" clId="{64B1940C-EE70-441F-A583-16AE057539F0}" dt="2021-05-11T08:48:02.617" v="1" actId="47"/>
        <pc:sldMkLst>
          <pc:docMk/>
          <pc:sldMk cId="1649006803" sldId="1921"/>
        </pc:sldMkLst>
      </pc:sldChg>
      <pc:sldChg chg="del">
        <pc:chgData name="Aurelien Domont" userId="6da7715ce44349b3" providerId="LiveId" clId="{64B1940C-EE70-441F-A583-16AE057539F0}" dt="2021-05-11T08:48:02.617" v="1" actId="47"/>
        <pc:sldMkLst>
          <pc:docMk/>
          <pc:sldMk cId="3022188194" sldId="1922"/>
        </pc:sldMkLst>
      </pc:sldChg>
      <pc:sldChg chg="del">
        <pc:chgData name="Aurelien Domont" userId="6da7715ce44349b3" providerId="LiveId" clId="{64B1940C-EE70-441F-A583-16AE057539F0}" dt="2021-05-11T08:48:02.617" v="1" actId="47"/>
        <pc:sldMkLst>
          <pc:docMk/>
          <pc:sldMk cId="1872329668" sldId="1923"/>
        </pc:sldMkLst>
      </pc:sldChg>
      <pc:sldChg chg="del">
        <pc:chgData name="Aurelien Domont" userId="6da7715ce44349b3" providerId="LiveId" clId="{64B1940C-EE70-441F-A583-16AE057539F0}" dt="2021-05-11T08:48:02.617" v="1" actId="47"/>
        <pc:sldMkLst>
          <pc:docMk/>
          <pc:sldMk cId="1659127470" sldId="1924"/>
        </pc:sldMkLst>
      </pc:sldChg>
      <pc:sldChg chg="del">
        <pc:chgData name="Aurelien Domont" userId="6da7715ce44349b3" providerId="LiveId" clId="{64B1940C-EE70-441F-A583-16AE057539F0}" dt="2021-05-11T08:48:02.617" v="1" actId="47"/>
        <pc:sldMkLst>
          <pc:docMk/>
          <pc:sldMk cId="597933806" sldId="1925"/>
        </pc:sldMkLst>
      </pc:sldChg>
      <pc:sldChg chg="del">
        <pc:chgData name="Aurelien Domont" userId="6da7715ce44349b3" providerId="LiveId" clId="{64B1940C-EE70-441F-A583-16AE057539F0}" dt="2021-05-11T08:48:02.617" v="1" actId="47"/>
        <pc:sldMkLst>
          <pc:docMk/>
          <pc:sldMk cId="1874123290" sldId="1926"/>
        </pc:sldMkLst>
      </pc:sldChg>
      <pc:sldChg chg="del">
        <pc:chgData name="Aurelien Domont" userId="6da7715ce44349b3" providerId="LiveId" clId="{64B1940C-EE70-441F-A583-16AE057539F0}" dt="2021-05-11T08:48:02.617" v="1" actId="47"/>
        <pc:sldMkLst>
          <pc:docMk/>
          <pc:sldMk cId="235018652" sldId="1927"/>
        </pc:sldMkLst>
      </pc:sldChg>
      <pc:sldChg chg="del">
        <pc:chgData name="Aurelien Domont" userId="6da7715ce44349b3" providerId="LiveId" clId="{64B1940C-EE70-441F-A583-16AE057539F0}" dt="2021-05-11T08:48:02.617" v="1" actId="47"/>
        <pc:sldMkLst>
          <pc:docMk/>
          <pc:sldMk cId="1374159068" sldId="1928"/>
        </pc:sldMkLst>
      </pc:sldChg>
      <pc:sldChg chg="del">
        <pc:chgData name="Aurelien Domont" userId="6da7715ce44349b3" providerId="LiveId" clId="{64B1940C-EE70-441F-A583-16AE057539F0}" dt="2021-05-11T08:48:02.617" v="1" actId="47"/>
        <pc:sldMkLst>
          <pc:docMk/>
          <pc:sldMk cId="802743741" sldId="1929"/>
        </pc:sldMkLst>
      </pc:sldChg>
      <pc:sldChg chg="del">
        <pc:chgData name="Aurelien Domont" userId="6da7715ce44349b3" providerId="LiveId" clId="{64B1940C-EE70-441F-A583-16AE057539F0}" dt="2021-05-11T08:48:02.617" v="1" actId="47"/>
        <pc:sldMkLst>
          <pc:docMk/>
          <pc:sldMk cId="948385396" sldId="1930"/>
        </pc:sldMkLst>
      </pc:sldChg>
      <pc:sldChg chg="del">
        <pc:chgData name="Aurelien Domont" userId="6da7715ce44349b3" providerId="LiveId" clId="{64B1940C-EE70-441F-A583-16AE057539F0}" dt="2021-05-11T08:48:02.617" v="1" actId="47"/>
        <pc:sldMkLst>
          <pc:docMk/>
          <pc:sldMk cId="784211076" sldId="1931"/>
        </pc:sldMkLst>
      </pc:sldChg>
      <pc:sldChg chg="del">
        <pc:chgData name="Aurelien Domont" userId="6da7715ce44349b3" providerId="LiveId" clId="{64B1940C-EE70-441F-A583-16AE057539F0}" dt="2021-05-11T08:48:02.617" v="1" actId="47"/>
        <pc:sldMkLst>
          <pc:docMk/>
          <pc:sldMk cId="2839386134" sldId="1932"/>
        </pc:sldMkLst>
      </pc:sldChg>
      <pc:sldChg chg="del">
        <pc:chgData name="Aurelien Domont" userId="6da7715ce44349b3" providerId="LiveId" clId="{64B1940C-EE70-441F-A583-16AE057539F0}" dt="2021-05-11T08:48:02.617" v="1" actId="47"/>
        <pc:sldMkLst>
          <pc:docMk/>
          <pc:sldMk cId="631546691" sldId="1933"/>
        </pc:sldMkLst>
      </pc:sldChg>
      <pc:sldChg chg="del">
        <pc:chgData name="Aurelien Domont" userId="6da7715ce44349b3" providerId="LiveId" clId="{64B1940C-EE70-441F-A583-16AE057539F0}" dt="2021-05-11T08:48:02.617" v="1" actId="47"/>
        <pc:sldMkLst>
          <pc:docMk/>
          <pc:sldMk cId="1360412850" sldId="1934"/>
        </pc:sldMkLst>
      </pc:sldChg>
      <pc:sldChg chg="del">
        <pc:chgData name="Aurelien Domont" userId="6da7715ce44349b3" providerId="LiveId" clId="{64B1940C-EE70-441F-A583-16AE057539F0}" dt="2021-05-11T08:48:02.617" v="1" actId="47"/>
        <pc:sldMkLst>
          <pc:docMk/>
          <pc:sldMk cId="317604876" sldId="1935"/>
        </pc:sldMkLst>
      </pc:sldChg>
      <pc:sldChg chg="del">
        <pc:chgData name="Aurelien Domont" userId="6da7715ce44349b3" providerId="LiveId" clId="{64B1940C-EE70-441F-A583-16AE057539F0}" dt="2021-05-11T08:48:02.617" v="1" actId="47"/>
        <pc:sldMkLst>
          <pc:docMk/>
          <pc:sldMk cId="580696589" sldId="1936"/>
        </pc:sldMkLst>
      </pc:sldChg>
      <pc:sldChg chg="del">
        <pc:chgData name="Aurelien Domont" userId="6da7715ce44349b3" providerId="LiveId" clId="{64B1940C-EE70-441F-A583-16AE057539F0}" dt="2021-05-11T08:48:02.617" v="1" actId="47"/>
        <pc:sldMkLst>
          <pc:docMk/>
          <pc:sldMk cId="2855966363" sldId="1937"/>
        </pc:sldMkLst>
      </pc:sldChg>
      <pc:sldChg chg="del">
        <pc:chgData name="Aurelien Domont" userId="6da7715ce44349b3" providerId="LiveId" clId="{64B1940C-EE70-441F-A583-16AE057539F0}" dt="2021-05-11T08:48:02.617" v="1" actId="47"/>
        <pc:sldMkLst>
          <pc:docMk/>
          <pc:sldMk cId="2589605413" sldId="1938"/>
        </pc:sldMkLst>
      </pc:sldChg>
      <pc:sldChg chg="del">
        <pc:chgData name="Aurelien Domont" userId="6da7715ce44349b3" providerId="LiveId" clId="{64B1940C-EE70-441F-A583-16AE057539F0}" dt="2021-05-11T08:48:02.617" v="1" actId="47"/>
        <pc:sldMkLst>
          <pc:docMk/>
          <pc:sldMk cId="3714325450" sldId="1939"/>
        </pc:sldMkLst>
      </pc:sldChg>
      <pc:sldChg chg="del">
        <pc:chgData name="Aurelien Domont" userId="6da7715ce44349b3" providerId="LiveId" clId="{64B1940C-EE70-441F-A583-16AE057539F0}" dt="2021-05-11T08:48:02.617" v="1" actId="47"/>
        <pc:sldMkLst>
          <pc:docMk/>
          <pc:sldMk cId="1414149744" sldId="1940"/>
        </pc:sldMkLst>
      </pc:sldChg>
      <pc:sldChg chg="del">
        <pc:chgData name="Aurelien Domont" userId="6da7715ce44349b3" providerId="LiveId" clId="{64B1940C-EE70-441F-A583-16AE057539F0}" dt="2021-05-11T08:48:02.617" v="1" actId="47"/>
        <pc:sldMkLst>
          <pc:docMk/>
          <pc:sldMk cId="599795422" sldId="1941"/>
        </pc:sldMkLst>
      </pc:sldChg>
      <pc:sldChg chg="del">
        <pc:chgData name="Aurelien Domont" userId="6da7715ce44349b3" providerId="LiveId" clId="{64B1940C-EE70-441F-A583-16AE057539F0}" dt="2021-05-11T08:48:02.617" v="1" actId="47"/>
        <pc:sldMkLst>
          <pc:docMk/>
          <pc:sldMk cId="1403188377" sldId="1942"/>
        </pc:sldMkLst>
      </pc:sldChg>
      <pc:sldChg chg="del">
        <pc:chgData name="Aurelien Domont" userId="6da7715ce44349b3" providerId="LiveId" clId="{64B1940C-EE70-441F-A583-16AE057539F0}" dt="2021-05-11T08:48:02.617" v="1" actId="47"/>
        <pc:sldMkLst>
          <pc:docMk/>
          <pc:sldMk cId="2977576074" sldId="1943"/>
        </pc:sldMkLst>
      </pc:sldChg>
      <pc:sldChg chg="del">
        <pc:chgData name="Aurelien Domont" userId="6da7715ce44349b3" providerId="LiveId" clId="{64B1940C-EE70-441F-A583-16AE057539F0}" dt="2021-05-11T08:48:02.617" v="1" actId="47"/>
        <pc:sldMkLst>
          <pc:docMk/>
          <pc:sldMk cId="1662017462" sldId="1944"/>
        </pc:sldMkLst>
      </pc:sldChg>
      <pc:sldChg chg="del">
        <pc:chgData name="Aurelien Domont" userId="6da7715ce44349b3" providerId="LiveId" clId="{64B1940C-EE70-441F-A583-16AE057539F0}" dt="2021-05-11T08:48:02.617" v="1" actId="47"/>
        <pc:sldMkLst>
          <pc:docMk/>
          <pc:sldMk cId="1128419591" sldId="1945"/>
        </pc:sldMkLst>
      </pc:sldChg>
      <pc:sldChg chg="del">
        <pc:chgData name="Aurelien Domont" userId="6da7715ce44349b3" providerId="LiveId" clId="{64B1940C-EE70-441F-A583-16AE057539F0}" dt="2021-05-11T08:48:02.617" v="1" actId="47"/>
        <pc:sldMkLst>
          <pc:docMk/>
          <pc:sldMk cId="3950953867" sldId="1946"/>
        </pc:sldMkLst>
      </pc:sldChg>
      <pc:sldChg chg="del">
        <pc:chgData name="Aurelien Domont" userId="6da7715ce44349b3" providerId="LiveId" clId="{64B1940C-EE70-441F-A583-16AE057539F0}" dt="2021-05-11T08:48:02.617" v="1" actId="47"/>
        <pc:sldMkLst>
          <pc:docMk/>
          <pc:sldMk cId="1632976083" sldId="1947"/>
        </pc:sldMkLst>
      </pc:sldChg>
      <pc:sldChg chg="del">
        <pc:chgData name="Aurelien Domont" userId="6da7715ce44349b3" providerId="LiveId" clId="{64B1940C-EE70-441F-A583-16AE057539F0}" dt="2021-05-11T08:48:02.617" v="1" actId="47"/>
        <pc:sldMkLst>
          <pc:docMk/>
          <pc:sldMk cId="3026069399" sldId="1948"/>
        </pc:sldMkLst>
      </pc:sldChg>
      <pc:sldChg chg="del">
        <pc:chgData name="Aurelien Domont" userId="6da7715ce44349b3" providerId="LiveId" clId="{64B1940C-EE70-441F-A583-16AE057539F0}" dt="2021-05-11T08:48:02.617" v="1" actId="47"/>
        <pc:sldMkLst>
          <pc:docMk/>
          <pc:sldMk cId="301689330" sldId="1949"/>
        </pc:sldMkLst>
      </pc:sldChg>
      <pc:sldChg chg="del">
        <pc:chgData name="Aurelien Domont" userId="6da7715ce44349b3" providerId="LiveId" clId="{64B1940C-EE70-441F-A583-16AE057539F0}" dt="2021-05-11T08:48:02.617" v="1" actId="47"/>
        <pc:sldMkLst>
          <pc:docMk/>
          <pc:sldMk cId="2802637173" sldId="1950"/>
        </pc:sldMkLst>
      </pc:sldChg>
      <pc:sldChg chg="del">
        <pc:chgData name="Aurelien Domont" userId="6da7715ce44349b3" providerId="LiveId" clId="{64B1940C-EE70-441F-A583-16AE057539F0}" dt="2021-05-11T08:48:02.617" v="1" actId="47"/>
        <pc:sldMkLst>
          <pc:docMk/>
          <pc:sldMk cId="799750334" sldId="1951"/>
        </pc:sldMkLst>
      </pc:sldChg>
      <pc:sldChg chg="del">
        <pc:chgData name="Aurelien Domont" userId="6da7715ce44349b3" providerId="LiveId" clId="{64B1940C-EE70-441F-A583-16AE057539F0}" dt="2021-05-11T08:48:02.617" v="1" actId="47"/>
        <pc:sldMkLst>
          <pc:docMk/>
          <pc:sldMk cId="2365333669" sldId="1952"/>
        </pc:sldMkLst>
      </pc:sldChg>
      <pc:sldChg chg="del">
        <pc:chgData name="Aurelien Domont" userId="6da7715ce44349b3" providerId="LiveId" clId="{64B1940C-EE70-441F-A583-16AE057539F0}" dt="2021-05-11T08:48:02.617" v="1" actId="47"/>
        <pc:sldMkLst>
          <pc:docMk/>
          <pc:sldMk cId="931823183" sldId="1953"/>
        </pc:sldMkLst>
      </pc:sldChg>
      <pc:sldChg chg="del">
        <pc:chgData name="Aurelien Domont" userId="6da7715ce44349b3" providerId="LiveId" clId="{64B1940C-EE70-441F-A583-16AE057539F0}" dt="2021-05-11T08:48:02.617" v="1" actId="47"/>
        <pc:sldMkLst>
          <pc:docMk/>
          <pc:sldMk cId="636448820" sldId="1954"/>
        </pc:sldMkLst>
      </pc:sldChg>
      <pc:sldChg chg="del">
        <pc:chgData name="Aurelien Domont" userId="6da7715ce44349b3" providerId="LiveId" clId="{64B1940C-EE70-441F-A583-16AE057539F0}" dt="2021-05-11T08:48:02.617" v="1" actId="47"/>
        <pc:sldMkLst>
          <pc:docMk/>
          <pc:sldMk cId="660112904" sldId="1955"/>
        </pc:sldMkLst>
      </pc:sldChg>
      <pc:sldChg chg="del">
        <pc:chgData name="Aurelien Domont" userId="6da7715ce44349b3" providerId="LiveId" clId="{64B1940C-EE70-441F-A583-16AE057539F0}" dt="2021-05-11T08:48:02.617" v="1" actId="47"/>
        <pc:sldMkLst>
          <pc:docMk/>
          <pc:sldMk cId="387956599" sldId="1956"/>
        </pc:sldMkLst>
      </pc:sldChg>
      <pc:sldChg chg="del">
        <pc:chgData name="Aurelien Domont" userId="6da7715ce44349b3" providerId="LiveId" clId="{64B1940C-EE70-441F-A583-16AE057539F0}" dt="2021-05-11T08:48:02.617" v="1" actId="47"/>
        <pc:sldMkLst>
          <pc:docMk/>
          <pc:sldMk cId="2207806883" sldId="1957"/>
        </pc:sldMkLst>
      </pc:sldChg>
      <pc:sldChg chg="del">
        <pc:chgData name="Aurelien Domont" userId="6da7715ce44349b3" providerId="LiveId" clId="{64B1940C-EE70-441F-A583-16AE057539F0}" dt="2021-05-11T08:48:02.617" v="1" actId="47"/>
        <pc:sldMkLst>
          <pc:docMk/>
          <pc:sldMk cId="7362875" sldId="1958"/>
        </pc:sldMkLst>
      </pc:sldChg>
      <pc:sldChg chg="del">
        <pc:chgData name="Aurelien Domont" userId="6da7715ce44349b3" providerId="LiveId" clId="{64B1940C-EE70-441F-A583-16AE057539F0}" dt="2021-05-11T08:48:02.617" v="1" actId="47"/>
        <pc:sldMkLst>
          <pc:docMk/>
          <pc:sldMk cId="1662162763" sldId="1959"/>
        </pc:sldMkLst>
      </pc:sldChg>
      <pc:sldChg chg="del">
        <pc:chgData name="Aurelien Domont" userId="6da7715ce44349b3" providerId="LiveId" clId="{64B1940C-EE70-441F-A583-16AE057539F0}" dt="2021-05-11T08:48:02.617" v="1" actId="47"/>
        <pc:sldMkLst>
          <pc:docMk/>
          <pc:sldMk cId="1380287118" sldId="1960"/>
        </pc:sldMkLst>
      </pc:sldChg>
      <pc:sldChg chg="del">
        <pc:chgData name="Aurelien Domont" userId="6da7715ce44349b3" providerId="LiveId" clId="{64B1940C-EE70-441F-A583-16AE057539F0}" dt="2021-05-11T08:48:02.617" v="1" actId="47"/>
        <pc:sldMkLst>
          <pc:docMk/>
          <pc:sldMk cId="2862939476" sldId="1961"/>
        </pc:sldMkLst>
      </pc:sldChg>
      <pc:sldChg chg="del">
        <pc:chgData name="Aurelien Domont" userId="6da7715ce44349b3" providerId="LiveId" clId="{64B1940C-EE70-441F-A583-16AE057539F0}" dt="2021-05-11T08:48:02.617" v="1" actId="47"/>
        <pc:sldMkLst>
          <pc:docMk/>
          <pc:sldMk cId="1371325009" sldId="1963"/>
        </pc:sldMkLst>
      </pc:sldChg>
      <pc:sldChg chg="del">
        <pc:chgData name="Aurelien Domont" userId="6da7715ce44349b3" providerId="LiveId" clId="{64B1940C-EE70-441F-A583-16AE057539F0}" dt="2021-05-11T08:48:02.617" v="1" actId="47"/>
        <pc:sldMkLst>
          <pc:docMk/>
          <pc:sldMk cId="2434730998" sldId="1964"/>
        </pc:sldMkLst>
      </pc:sldChg>
      <pc:sldChg chg="del">
        <pc:chgData name="Aurelien Domont" userId="6da7715ce44349b3" providerId="LiveId" clId="{64B1940C-EE70-441F-A583-16AE057539F0}" dt="2021-05-11T08:48:02.617" v="1" actId="47"/>
        <pc:sldMkLst>
          <pc:docMk/>
          <pc:sldMk cId="2118611170" sldId="1965"/>
        </pc:sldMkLst>
      </pc:sldChg>
      <pc:sldChg chg="del">
        <pc:chgData name="Aurelien Domont" userId="6da7715ce44349b3" providerId="LiveId" clId="{64B1940C-EE70-441F-A583-16AE057539F0}" dt="2021-05-11T08:48:02.617" v="1" actId="47"/>
        <pc:sldMkLst>
          <pc:docMk/>
          <pc:sldMk cId="708328687" sldId="1966"/>
        </pc:sldMkLst>
      </pc:sldChg>
      <pc:sldChg chg="del">
        <pc:chgData name="Aurelien Domont" userId="6da7715ce44349b3" providerId="LiveId" clId="{64B1940C-EE70-441F-A583-16AE057539F0}" dt="2021-05-11T08:48:02.617" v="1" actId="47"/>
        <pc:sldMkLst>
          <pc:docMk/>
          <pc:sldMk cId="3081941897" sldId="1967"/>
        </pc:sldMkLst>
      </pc:sldChg>
      <pc:sldChg chg="del">
        <pc:chgData name="Aurelien Domont" userId="6da7715ce44349b3" providerId="LiveId" clId="{64B1940C-EE70-441F-A583-16AE057539F0}" dt="2021-05-11T08:48:02.617" v="1" actId="47"/>
        <pc:sldMkLst>
          <pc:docMk/>
          <pc:sldMk cId="3440858440" sldId="1968"/>
        </pc:sldMkLst>
      </pc:sldChg>
      <pc:sldChg chg="del">
        <pc:chgData name="Aurelien Domont" userId="6da7715ce44349b3" providerId="LiveId" clId="{64B1940C-EE70-441F-A583-16AE057539F0}" dt="2021-05-11T08:48:02.617" v="1" actId="47"/>
        <pc:sldMkLst>
          <pc:docMk/>
          <pc:sldMk cId="3954766657" sldId="1969"/>
        </pc:sldMkLst>
      </pc:sldChg>
      <pc:sldChg chg="del">
        <pc:chgData name="Aurelien Domont" userId="6da7715ce44349b3" providerId="LiveId" clId="{64B1940C-EE70-441F-A583-16AE057539F0}" dt="2021-05-11T08:48:02.617" v="1" actId="47"/>
        <pc:sldMkLst>
          <pc:docMk/>
          <pc:sldMk cId="668275467" sldId="1970"/>
        </pc:sldMkLst>
      </pc:sldChg>
      <pc:sldChg chg="del">
        <pc:chgData name="Aurelien Domont" userId="6da7715ce44349b3" providerId="LiveId" clId="{64B1940C-EE70-441F-A583-16AE057539F0}" dt="2021-05-11T08:48:02.617" v="1" actId="47"/>
        <pc:sldMkLst>
          <pc:docMk/>
          <pc:sldMk cId="529194852" sldId="1971"/>
        </pc:sldMkLst>
      </pc:sldChg>
      <pc:sldChg chg="del">
        <pc:chgData name="Aurelien Domont" userId="6da7715ce44349b3" providerId="LiveId" clId="{64B1940C-EE70-441F-A583-16AE057539F0}" dt="2021-05-11T08:48:02.617" v="1" actId="47"/>
        <pc:sldMkLst>
          <pc:docMk/>
          <pc:sldMk cId="2410991361" sldId="1972"/>
        </pc:sldMkLst>
      </pc:sldChg>
      <pc:sldChg chg="del">
        <pc:chgData name="Aurelien Domont" userId="6da7715ce44349b3" providerId="LiveId" clId="{64B1940C-EE70-441F-A583-16AE057539F0}" dt="2021-05-11T08:48:02.617" v="1" actId="47"/>
        <pc:sldMkLst>
          <pc:docMk/>
          <pc:sldMk cId="2653177920" sldId="1973"/>
        </pc:sldMkLst>
      </pc:sldChg>
      <pc:sldChg chg="del">
        <pc:chgData name="Aurelien Domont" userId="6da7715ce44349b3" providerId="LiveId" clId="{64B1940C-EE70-441F-A583-16AE057539F0}" dt="2021-05-11T08:48:02.617" v="1" actId="47"/>
        <pc:sldMkLst>
          <pc:docMk/>
          <pc:sldMk cId="1373862011" sldId="1974"/>
        </pc:sldMkLst>
      </pc:sldChg>
      <pc:sldChg chg="del">
        <pc:chgData name="Aurelien Domont" userId="6da7715ce44349b3" providerId="LiveId" clId="{64B1940C-EE70-441F-A583-16AE057539F0}" dt="2021-05-11T08:48:02.617" v="1" actId="47"/>
        <pc:sldMkLst>
          <pc:docMk/>
          <pc:sldMk cId="2119972109" sldId="1975"/>
        </pc:sldMkLst>
      </pc:sldChg>
      <pc:sldChg chg="del">
        <pc:chgData name="Aurelien Domont" userId="6da7715ce44349b3" providerId="LiveId" clId="{64B1940C-EE70-441F-A583-16AE057539F0}" dt="2021-05-11T08:48:02.617" v="1" actId="47"/>
        <pc:sldMkLst>
          <pc:docMk/>
          <pc:sldMk cId="2078645186" sldId="1976"/>
        </pc:sldMkLst>
      </pc:sldChg>
      <pc:sldChg chg="del">
        <pc:chgData name="Aurelien Domont" userId="6da7715ce44349b3" providerId="LiveId" clId="{64B1940C-EE70-441F-A583-16AE057539F0}" dt="2021-05-11T08:48:02.617" v="1" actId="47"/>
        <pc:sldMkLst>
          <pc:docMk/>
          <pc:sldMk cId="2474191175" sldId="1977"/>
        </pc:sldMkLst>
      </pc:sldChg>
      <pc:sldChg chg="del">
        <pc:chgData name="Aurelien Domont" userId="6da7715ce44349b3" providerId="LiveId" clId="{64B1940C-EE70-441F-A583-16AE057539F0}" dt="2021-05-11T08:48:02.617" v="1" actId="47"/>
        <pc:sldMkLst>
          <pc:docMk/>
          <pc:sldMk cId="4089601017" sldId="1978"/>
        </pc:sldMkLst>
      </pc:sldChg>
      <pc:sldChg chg="del">
        <pc:chgData name="Aurelien Domont" userId="6da7715ce44349b3" providerId="LiveId" clId="{64B1940C-EE70-441F-A583-16AE057539F0}" dt="2021-05-11T08:48:02.617" v="1" actId="47"/>
        <pc:sldMkLst>
          <pc:docMk/>
          <pc:sldMk cId="2403768916" sldId="1979"/>
        </pc:sldMkLst>
      </pc:sldChg>
      <pc:sldChg chg="del">
        <pc:chgData name="Aurelien Domont" userId="6da7715ce44349b3" providerId="LiveId" clId="{64B1940C-EE70-441F-A583-16AE057539F0}" dt="2021-05-11T08:48:02.617" v="1" actId="47"/>
        <pc:sldMkLst>
          <pc:docMk/>
          <pc:sldMk cId="3828206272" sldId="1980"/>
        </pc:sldMkLst>
      </pc:sldChg>
      <pc:sldChg chg="del">
        <pc:chgData name="Aurelien Domont" userId="6da7715ce44349b3" providerId="LiveId" clId="{64B1940C-EE70-441F-A583-16AE057539F0}" dt="2021-05-11T08:48:02.617" v="1" actId="47"/>
        <pc:sldMkLst>
          <pc:docMk/>
          <pc:sldMk cId="1691820959" sldId="1981"/>
        </pc:sldMkLst>
      </pc:sldChg>
      <pc:sldChg chg="del">
        <pc:chgData name="Aurelien Domont" userId="6da7715ce44349b3" providerId="LiveId" clId="{64B1940C-EE70-441F-A583-16AE057539F0}" dt="2021-05-11T08:48:02.617" v="1" actId="47"/>
        <pc:sldMkLst>
          <pc:docMk/>
          <pc:sldMk cId="3425621628" sldId="1982"/>
        </pc:sldMkLst>
      </pc:sldChg>
      <pc:sldChg chg="del">
        <pc:chgData name="Aurelien Domont" userId="6da7715ce44349b3" providerId="LiveId" clId="{64B1940C-EE70-441F-A583-16AE057539F0}" dt="2021-05-11T08:48:02.617" v="1" actId="47"/>
        <pc:sldMkLst>
          <pc:docMk/>
          <pc:sldMk cId="978935005" sldId="1983"/>
        </pc:sldMkLst>
      </pc:sldChg>
      <pc:sldChg chg="del">
        <pc:chgData name="Aurelien Domont" userId="6da7715ce44349b3" providerId="LiveId" clId="{64B1940C-EE70-441F-A583-16AE057539F0}" dt="2021-05-11T08:48:02.617" v="1" actId="47"/>
        <pc:sldMkLst>
          <pc:docMk/>
          <pc:sldMk cId="2297949056" sldId="1984"/>
        </pc:sldMkLst>
      </pc:sldChg>
      <pc:sldChg chg="del">
        <pc:chgData name="Aurelien Domont" userId="6da7715ce44349b3" providerId="LiveId" clId="{64B1940C-EE70-441F-A583-16AE057539F0}" dt="2021-05-11T08:48:02.617" v="1" actId="47"/>
        <pc:sldMkLst>
          <pc:docMk/>
          <pc:sldMk cId="1823605290" sldId="1985"/>
        </pc:sldMkLst>
      </pc:sldChg>
      <pc:sldChg chg="del">
        <pc:chgData name="Aurelien Domont" userId="6da7715ce44349b3" providerId="LiveId" clId="{64B1940C-EE70-441F-A583-16AE057539F0}" dt="2021-05-11T08:48:02.617" v="1" actId="47"/>
        <pc:sldMkLst>
          <pc:docMk/>
          <pc:sldMk cId="1026744296" sldId="1986"/>
        </pc:sldMkLst>
      </pc:sldChg>
      <pc:sldChg chg="del">
        <pc:chgData name="Aurelien Domont" userId="6da7715ce44349b3" providerId="LiveId" clId="{64B1940C-EE70-441F-A583-16AE057539F0}" dt="2021-05-11T08:48:02.617" v="1" actId="47"/>
        <pc:sldMkLst>
          <pc:docMk/>
          <pc:sldMk cId="1357942581" sldId="1987"/>
        </pc:sldMkLst>
      </pc:sldChg>
      <pc:sldChg chg="del">
        <pc:chgData name="Aurelien Domont" userId="6da7715ce44349b3" providerId="LiveId" clId="{64B1940C-EE70-441F-A583-16AE057539F0}" dt="2021-05-11T08:48:02.617" v="1" actId="47"/>
        <pc:sldMkLst>
          <pc:docMk/>
          <pc:sldMk cId="1940386508" sldId="1988"/>
        </pc:sldMkLst>
      </pc:sldChg>
      <pc:sldChg chg="del">
        <pc:chgData name="Aurelien Domont" userId="6da7715ce44349b3" providerId="LiveId" clId="{64B1940C-EE70-441F-A583-16AE057539F0}" dt="2021-05-11T08:48:02.617" v="1" actId="47"/>
        <pc:sldMkLst>
          <pc:docMk/>
          <pc:sldMk cId="2299758324" sldId="1989"/>
        </pc:sldMkLst>
      </pc:sldChg>
      <pc:sldChg chg="del">
        <pc:chgData name="Aurelien Domont" userId="6da7715ce44349b3" providerId="LiveId" clId="{64B1940C-EE70-441F-A583-16AE057539F0}" dt="2021-05-11T08:48:02.617" v="1" actId="47"/>
        <pc:sldMkLst>
          <pc:docMk/>
          <pc:sldMk cId="1124419684" sldId="1990"/>
        </pc:sldMkLst>
      </pc:sldChg>
      <pc:sldChg chg="del">
        <pc:chgData name="Aurelien Domont" userId="6da7715ce44349b3" providerId="LiveId" clId="{64B1940C-EE70-441F-A583-16AE057539F0}" dt="2021-05-11T08:48:02.617" v="1" actId="47"/>
        <pc:sldMkLst>
          <pc:docMk/>
          <pc:sldMk cId="205289071" sldId="1991"/>
        </pc:sldMkLst>
      </pc:sldChg>
      <pc:sldChg chg="del">
        <pc:chgData name="Aurelien Domont" userId="6da7715ce44349b3" providerId="LiveId" clId="{64B1940C-EE70-441F-A583-16AE057539F0}" dt="2021-05-11T08:48:02.617" v="1" actId="47"/>
        <pc:sldMkLst>
          <pc:docMk/>
          <pc:sldMk cId="3239629277" sldId="1992"/>
        </pc:sldMkLst>
      </pc:sldChg>
      <pc:sldChg chg="del">
        <pc:chgData name="Aurelien Domont" userId="6da7715ce44349b3" providerId="LiveId" clId="{64B1940C-EE70-441F-A583-16AE057539F0}" dt="2021-05-11T08:48:02.617" v="1" actId="47"/>
        <pc:sldMkLst>
          <pc:docMk/>
          <pc:sldMk cId="1752228771" sldId="1993"/>
        </pc:sldMkLst>
      </pc:sldChg>
      <pc:sldChg chg="del">
        <pc:chgData name="Aurelien Domont" userId="6da7715ce44349b3" providerId="LiveId" clId="{64B1940C-EE70-441F-A583-16AE057539F0}" dt="2021-05-11T08:48:02.617" v="1" actId="47"/>
        <pc:sldMkLst>
          <pc:docMk/>
          <pc:sldMk cId="1158613024" sldId="1994"/>
        </pc:sldMkLst>
      </pc:sldChg>
      <pc:sldChg chg="del">
        <pc:chgData name="Aurelien Domont" userId="6da7715ce44349b3" providerId="LiveId" clId="{64B1940C-EE70-441F-A583-16AE057539F0}" dt="2021-05-11T08:48:02.617" v="1" actId="47"/>
        <pc:sldMkLst>
          <pc:docMk/>
          <pc:sldMk cId="3526698175" sldId="1995"/>
        </pc:sldMkLst>
      </pc:sldChg>
      <pc:sldChg chg="del">
        <pc:chgData name="Aurelien Domont" userId="6da7715ce44349b3" providerId="LiveId" clId="{64B1940C-EE70-441F-A583-16AE057539F0}" dt="2021-05-11T08:48:02.617" v="1" actId="47"/>
        <pc:sldMkLst>
          <pc:docMk/>
          <pc:sldMk cId="3049023689" sldId="1996"/>
        </pc:sldMkLst>
      </pc:sldChg>
      <pc:sldChg chg="del">
        <pc:chgData name="Aurelien Domont" userId="6da7715ce44349b3" providerId="LiveId" clId="{64B1940C-EE70-441F-A583-16AE057539F0}" dt="2021-05-11T08:48:02.617" v="1" actId="47"/>
        <pc:sldMkLst>
          <pc:docMk/>
          <pc:sldMk cId="1142596438" sldId="1997"/>
        </pc:sldMkLst>
      </pc:sldChg>
      <pc:sldChg chg="del">
        <pc:chgData name="Aurelien Domont" userId="6da7715ce44349b3" providerId="LiveId" clId="{64B1940C-EE70-441F-A583-16AE057539F0}" dt="2021-05-11T08:48:02.617" v="1" actId="47"/>
        <pc:sldMkLst>
          <pc:docMk/>
          <pc:sldMk cId="2206188045" sldId="1998"/>
        </pc:sldMkLst>
      </pc:sldChg>
      <pc:sldChg chg="del">
        <pc:chgData name="Aurelien Domont" userId="6da7715ce44349b3" providerId="LiveId" clId="{64B1940C-EE70-441F-A583-16AE057539F0}" dt="2021-05-11T08:48:02.617" v="1" actId="47"/>
        <pc:sldMkLst>
          <pc:docMk/>
          <pc:sldMk cId="3928808042" sldId="1999"/>
        </pc:sldMkLst>
      </pc:sldChg>
      <pc:sldChg chg="del">
        <pc:chgData name="Aurelien Domont" userId="6da7715ce44349b3" providerId="LiveId" clId="{64B1940C-EE70-441F-A583-16AE057539F0}" dt="2021-05-11T08:48:02.617" v="1" actId="47"/>
        <pc:sldMkLst>
          <pc:docMk/>
          <pc:sldMk cId="3600611330" sldId="2000"/>
        </pc:sldMkLst>
      </pc:sldChg>
      <pc:sldChg chg="del">
        <pc:chgData name="Aurelien Domont" userId="6da7715ce44349b3" providerId="LiveId" clId="{64B1940C-EE70-441F-A583-16AE057539F0}" dt="2021-05-11T08:48:02.617" v="1" actId="47"/>
        <pc:sldMkLst>
          <pc:docMk/>
          <pc:sldMk cId="494454371" sldId="2001"/>
        </pc:sldMkLst>
      </pc:sldChg>
      <pc:sldChg chg="del">
        <pc:chgData name="Aurelien Domont" userId="6da7715ce44349b3" providerId="LiveId" clId="{64B1940C-EE70-441F-A583-16AE057539F0}" dt="2021-05-11T08:48:02.617" v="1" actId="47"/>
        <pc:sldMkLst>
          <pc:docMk/>
          <pc:sldMk cId="3160285512" sldId="2002"/>
        </pc:sldMkLst>
      </pc:sldChg>
      <pc:sldChg chg="del">
        <pc:chgData name="Aurelien Domont" userId="6da7715ce44349b3" providerId="LiveId" clId="{64B1940C-EE70-441F-A583-16AE057539F0}" dt="2021-05-11T08:48:02.617" v="1" actId="47"/>
        <pc:sldMkLst>
          <pc:docMk/>
          <pc:sldMk cId="2011482222" sldId="2003"/>
        </pc:sldMkLst>
      </pc:sldChg>
      <pc:sldChg chg="del">
        <pc:chgData name="Aurelien Domont" userId="6da7715ce44349b3" providerId="LiveId" clId="{64B1940C-EE70-441F-A583-16AE057539F0}" dt="2021-05-11T08:48:02.617" v="1" actId="47"/>
        <pc:sldMkLst>
          <pc:docMk/>
          <pc:sldMk cId="235415864" sldId="2004"/>
        </pc:sldMkLst>
      </pc:sldChg>
      <pc:sldChg chg="del">
        <pc:chgData name="Aurelien Domont" userId="6da7715ce44349b3" providerId="LiveId" clId="{64B1940C-EE70-441F-A583-16AE057539F0}" dt="2021-05-11T08:48:02.617" v="1" actId="47"/>
        <pc:sldMkLst>
          <pc:docMk/>
          <pc:sldMk cId="673232207" sldId="2005"/>
        </pc:sldMkLst>
      </pc:sldChg>
      <pc:sldChg chg="del">
        <pc:chgData name="Aurelien Domont" userId="6da7715ce44349b3" providerId="LiveId" clId="{64B1940C-EE70-441F-A583-16AE057539F0}" dt="2021-05-11T08:48:02.617" v="1" actId="47"/>
        <pc:sldMkLst>
          <pc:docMk/>
          <pc:sldMk cId="539105764" sldId="2006"/>
        </pc:sldMkLst>
      </pc:sldChg>
      <pc:sldChg chg="del">
        <pc:chgData name="Aurelien Domont" userId="6da7715ce44349b3" providerId="LiveId" clId="{64B1940C-EE70-441F-A583-16AE057539F0}" dt="2021-05-11T08:48:02.617" v="1" actId="47"/>
        <pc:sldMkLst>
          <pc:docMk/>
          <pc:sldMk cId="1585643901" sldId="2007"/>
        </pc:sldMkLst>
      </pc:sldChg>
      <pc:sldChg chg="del">
        <pc:chgData name="Aurelien Domont" userId="6da7715ce44349b3" providerId="LiveId" clId="{64B1940C-EE70-441F-A583-16AE057539F0}" dt="2021-05-11T08:48:02.617" v="1" actId="47"/>
        <pc:sldMkLst>
          <pc:docMk/>
          <pc:sldMk cId="153376507" sldId="2008"/>
        </pc:sldMkLst>
      </pc:sldChg>
      <pc:sldChg chg="del">
        <pc:chgData name="Aurelien Domont" userId="6da7715ce44349b3" providerId="LiveId" clId="{64B1940C-EE70-441F-A583-16AE057539F0}" dt="2021-05-11T08:48:02.617" v="1" actId="47"/>
        <pc:sldMkLst>
          <pc:docMk/>
          <pc:sldMk cId="938136842" sldId="2010"/>
        </pc:sldMkLst>
      </pc:sldChg>
      <pc:sldChg chg="modSp mod">
        <pc:chgData name="Aurelien Domont" userId="6da7715ce44349b3" providerId="LiveId" clId="{64B1940C-EE70-441F-A583-16AE057539F0}" dt="2021-05-11T09:03:55.290" v="48" actId="20577"/>
        <pc:sldMkLst>
          <pc:docMk/>
          <pc:sldMk cId="2690714282" sldId="2013"/>
        </pc:sldMkLst>
        <pc:spChg chg="mod">
          <ac:chgData name="Aurelien Domont" userId="6da7715ce44349b3" providerId="LiveId" clId="{64B1940C-EE70-441F-A583-16AE057539F0}" dt="2021-05-11T09:02:38.954" v="42" actId="20577"/>
          <ac:spMkLst>
            <pc:docMk/>
            <pc:sldMk cId="2690714282" sldId="2013"/>
            <ac:spMk id="14" creationId="{D924E3C6-A99B-468D-A7FE-E2951406A576}"/>
          </ac:spMkLst>
        </pc:spChg>
        <pc:spChg chg="mod">
          <ac:chgData name="Aurelien Domont" userId="6da7715ce44349b3" providerId="LiveId" clId="{64B1940C-EE70-441F-A583-16AE057539F0}" dt="2021-05-11T09:02:33.563" v="40" actId="20577"/>
          <ac:spMkLst>
            <pc:docMk/>
            <pc:sldMk cId="2690714282" sldId="2013"/>
            <ac:spMk id="15" creationId="{3641FB4A-4E7E-4C07-9464-7D3EF421152E}"/>
          </ac:spMkLst>
        </pc:spChg>
        <pc:spChg chg="mod">
          <ac:chgData name="Aurelien Domont" userId="6da7715ce44349b3" providerId="LiveId" clId="{64B1940C-EE70-441F-A583-16AE057539F0}" dt="2021-05-11T09:03:55.290" v="48" actId="20577"/>
          <ac:spMkLst>
            <pc:docMk/>
            <pc:sldMk cId="2690714282" sldId="2013"/>
            <ac:spMk id="16" creationId="{6C2BB713-9637-4B9B-938F-E9768876782A}"/>
          </ac:spMkLst>
        </pc:spChg>
      </pc:sldChg>
      <pc:sldChg chg="modSp mod">
        <pc:chgData name="Aurelien Domont" userId="6da7715ce44349b3" providerId="LiveId" clId="{64B1940C-EE70-441F-A583-16AE057539F0}" dt="2021-05-11T09:02:28.558" v="39" actId="20577"/>
        <pc:sldMkLst>
          <pc:docMk/>
          <pc:sldMk cId="2140429196" sldId="2014"/>
        </pc:sldMkLst>
        <pc:spChg chg="mod">
          <ac:chgData name="Aurelien Domont" userId="6da7715ce44349b3" providerId="LiveId" clId="{64B1940C-EE70-441F-A583-16AE057539F0}" dt="2021-05-11T09:02:28.558" v="39" actId="20577"/>
          <ac:spMkLst>
            <pc:docMk/>
            <pc:sldMk cId="2140429196" sldId="2014"/>
            <ac:spMk id="16" creationId="{6C2BB713-9637-4B9B-938F-E9768876782A}"/>
          </ac:spMkLst>
        </pc:spChg>
      </pc:sldChg>
      <pc:sldChg chg="modSp mod">
        <pc:chgData name="Aurelien Domont" userId="6da7715ce44349b3" providerId="LiveId" clId="{64B1940C-EE70-441F-A583-16AE057539F0}" dt="2021-05-11T08:59:38.373" v="29" actId="14100"/>
        <pc:sldMkLst>
          <pc:docMk/>
          <pc:sldMk cId="1874727100" sldId="2015"/>
        </pc:sldMkLst>
        <pc:spChg chg="mod">
          <ac:chgData name="Aurelien Domont" userId="6da7715ce44349b3" providerId="LiveId" clId="{64B1940C-EE70-441F-A583-16AE057539F0}" dt="2021-05-11T08:59:38.373" v="29" actId="14100"/>
          <ac:spMkLst>
            <pc:docMk/>
            <pc:sldMk cId="1874727100" sldId="2015"/>
            <ac:spMk id="16" creationId="{6C2BB713-9637-4B9B-938F-E9768876782A}"/>
          </ac:spMkLst>
        </pc:spChg>
      </pc:sldChg>
      <pc:sldChg chg="modSp mod">
        <pc:chgData name="Aurelien Domont" userId="6da7715ce44349b3" providerId="LiveId" clId="{64B1940C-EE70-441F-A583-16AE057539F0}" dt="2021-05-11T09:02:16.339" v="35" actId="14100"/>
        <pc:sldMkLst>
          <pc:docMk/>
          <pc:sldMk cId="2219283537" sldId="2016"/>
        </pc:sldMkLst>
        <pc:spChg chg="mod">
          <ac:chgData name="Aurelien Domont" userId="6da7715ce44349b3" providerId="LiveId" clId="{64B1940C-EE70-441F-A583-16AE057539F0}" dt="2021-05-11T09:02:16.339" v="35" actId="14100"/>
          <ac:spMkLst>
            <pc:docMk/>
            <pc:sldMk cId="2219283537" sldId="2016"/>
            <ac:spMk id="16" creationId="{6C2BB713-9637-4B9B-938F-E9768876782A}"/>
          </ac:spMkLst>
        </pc:spChg>
      </pc:sldChg>
      <pc:sldChg chg="modSp mod">
        <pc:chgData name="Aurelien Domont" userId="6da7715ce44349b3" providerId="LiveId" clId="{64B1940C-EE70-441F-A583-16AE057539F0}" dt="2021-05-11T09:02:21.145" v="37" actId="20577"/>
        <pc:sldMkLst>
          <pc:docMk/>
          <pc:sldMk cId="786852373" sldId="2017"/>
        </pc:sldMkLst>
        <pc:spChg chg="mod">
          <ac:chgData name="Aurelien Domont" userId="6da7715ce44349b3" providerId="LiveId" clId="{64B1940C-EE70-441F-A583-16AE057539F0}" dt="2021-05-11T09:02:21.145" v="37" actId="20577"/>
          <ac:spMkLst>
            <pc:docMk/>
            <pc:sldMk cId="786852373" sldId="2017"/>
            <ac:spMk id="16" creationId="{6C2BB713-9637-4B9B-938F-E9768876782A}"/>
          </ac:spMkLst>
        </pc:spChg>
      </pc:sldChg>
      <pc:sldChg chg="modSp mod">
        <pc:chgData name="Aurelien Domont" userId="6da7715ce44349b3" providerId="LiveId" clId="{64B1940C-EE70-441F-A583-16AE057539F0}" dt="2021-05-11T09:04:03.120" v="49" actId="20577"/>
        <pc:sldMkLst>
          <pc:docMk/>
          <pc:sldMk cId="1850178084" sldId="2018"/>
        </pc:sldMkLst>
        <pc:spChg chg="mod">
          <ac:chgData name="Aurelien Domont" userId="6da7715ce44349b3" providerId="LiveId" clId="{64B1940C-EE70-441F-A583-16AE057539F0}" dt="2021-05-11T09:04:03.120" v="49" actId="20577"/>
          <ac:spMkLst>
            <pc:docMk/>
            <pc:sldMk cId="1850178084" sldId="2018"/>
            <ac:spMk id="17" creationId="{B6B27B2D-AA8E-4306-A7FA-F3275D55AF1B}"/>
          </ac:spMkLst>
        </pc:spChg>
      </pc:sldChg>
      <pc:sldChg chg="modSp mod">
        <pc:chgData name="Aurelien Domont" userId="6da7715ce44349b3" providerId="LiveId" clId="{64B1940C-EE70-441F-A583-16AE057539F0}" dt="2021-05-11T08:48:55.927" v="5" actId="120"/>
        <pc:sldMkLst>
          <pc:docMk/>
          <pc:sldMk cId="1391445569" sldId="2019"/>
        </pc:sldMkLst>
        <pc:spChg chg="mod">
          <ac:chgData name="Aurelien Domont" userId="6da7715ce44349b3" providerId="LiveId" clId="{64B1940C-EE70-441F-A583-16AE057539F0}" dt="2021-05-11T08:48:55.927" v="5" actId="120"/>
          <ac:spMkLst>
            <pc:docMk/>
            <pc:sldMk cId="1391445569" sldId="2019"/>
            <ac:spMk id="10" creationId="{8BDEE24B-A0AA-4C2E-9D1A-1CFA164A0673}"/>
          </ac:spMkLst>
        </pc:spChg>
        <pc:spChg chg="mod">
          <ac:chgData name="Aurelien Domont" userId="6da7715ce44349b3" providerId="LiveId" clId="{64B1940C-EE70-441F-A583-16AE057539F0}" dt="2021-05-11T08:48:55.927" v="5" actId="120"/>
          <ac:spMkLst>
            <pc:docMk/>
            <pc:sldMk cId="1391445569" sldId="2019"/>
            <ac:spMk id="11" creationId="{96ABBFB8-5643-48EE-90DD-C62DFB9BA182}"/>
          </ac:spMkLst>
        </pc:spChg>
        <pc:spChg chg="mod">
          <ac:chgData name="Aurelien Domont" userId="6da7715ce44349b3" providerId="LiveId" clId="{64B1940C-EE70-441F-A583-16AE057539F0}" dt="2021-05-11T08:48:55.927" v="5" actId="120"/>
          <ac:spMkLst>
            <pc:docMk/>
            <pc:sldMk cId="1391445569" sldId="2019"/>
            <ac:spMk id="12" creationId="{492994B2-BEB9-4954-AFB0-CBE308350609}"/>
          </ac:spMkLst>
        </pc:spChg>
        <pc:spChg chg="mod">
          <ac:chgData name="Aurelien Domont" userId="6da7715ce44349b3" providerId="LiveId" clId="{64B1940C-EE70-441F-A583-16AE057539F0}" dt="2021-05-11T08:48:55.927" v="5" actId="120"/>
          <ac:spMkLst>
            <pc:docMk/>
            <pc:sldMk cId="1391445569" sldId="2019"/>
            <ac:spMk id="14" creationId="{06F67609-B01C-4BCB-9DBB-636C25469406}"/>
          </ac:spMkLst>
        </pc:spChg>
        <pc:spChg chg="mod">
          <ac:chgData name="Aurelien Domont" userId="6da7715ce44349b3" providerId="LiveId" clId="{64B1940C-EE70-441F-A583-16AE057539F0}" dt="2021-05-11T08:48:55.927" v="5" actId="120"/>
          <ac:spMkLst>
            <pc:docMk/>
            <pc:sldMk cId="1391445569" sldId="2019"/>
            <ac:spMk id="15" creationId="{B9644CEF-B483-4899-AB3E-AD8B18A7D977}"/>
          </ac:spMkLst>
        </pc:spChg>
        <pc:spChg chg="mod">
          <ac:chgData name="Aurelien Domont" userId="6da7715ce44349b3" providerId="LiveId" clId="{64B1940C-EE70-441F-A583-16AE057539F0}" dt="2021-05-11T08:48:50.208" v="4" actId="404"/>
          <ac:spMkLst>
            <pc:docMk/>
            <pc:sldMk cId="1391445569" sldId="2019"/>
            <ac:spMk id="17" creationId="{B6B27B2D-AA8E-4306-A7FA-F3275D55AF1B}"/>
          </ac:spMkLst>
        </pc:spChg>
      </pc:sldChg>
      <pc:sldChg chg="del">
        <pc:chgData name="Aurelien Domont" userId="6da7715ce44349b3" providerId="LiveId" clId="{64B1940C-EE70-441F-A583-16AE057539F0}" dt="2021-05-11T08:47:44.796" v="0" actId="47"/>
        <pc:sldMkLst>
          <pc:docMk/>
          <pc:sldMk cId="833432062" sldId="2020"/>
        </pc:sldMkLst>
      </pc:sldChg>
      <pc:sldChg chg="del">
        <pc:chgData name="Aurelien Domont" userId="6da7715ce44349b3" providerId="LiveId" clId="{64B1940C-EE70-441F-A583-16AE057539F0}" dt="2021-05-11T08:47:44.796" v="0" actId="47"/>
        <pc:sldMkLst>
          <pc:docMk/>
          <pc:sldMk cId="1884153820" sldId="2021"/>
        </pc:sldMkLst>
      </pc:sldChg>
      <pc:sldChg chg="del">
        <pc:chgData name="Aurelien Domont" userId="6da7715ce44349b3" providerId="LiveId" clId="{64B1940C-EE70-441F-A583-16AE057539F0}" dt="2021-05-11T08:47:44.796" v="0" actId="47"/>
        <pc:sldMkLst>
          <pc:docMk/>
          <pc:sldMk cId="3266627109" sldId="2022"/>
        </pc:sldMkLst>
      </pc:sldChg>
      <pc:sldChg chg="del">
        <pc:chgData name="Aurelien Domont" userId="6da7715ce44349b3" providerId="LiveId" clId="{64B1940C-EE70-441F-A583-16AE057539F0}" dt="2021-05-11T08:47:44.796" v="0" actId="47"/>
        <pc:sldMkLst>
          <pc:docMk/>
          <pc:sldMk cId="1720365225" sldId="2023"/>
        </pc:sldMkLst>
      </pc:sldChg>
      <pc:sldChg chg="del">
        <pc:chgData name="Aurelien Domont" userId="6da7715ce44349b3" providerId="LiveId" clId="{64B1940C-EE70-441F-A583-16AE057539F0}" dt="2021-05-11T08:47:44.796" v="0" actId="47"/>
        <pc:sldMkLst>
          <pc:docMk/>
          <pc:sldMk cId="2200437321" sldId="2024"/>
        </pc:sldMkLst>
      </pc:sldChg>
      <pc:sldChg chg="del">
        <pc:chgData name="Aurelien Domont" userId="6da7715ce44349b3" providerId="LiveId" clId="{64B1940C-EE70-441F-A583-16AE057539F0}" dt="2021-05-11T08:47:44.796" v="0" actId="47"/>
        <pc:sldMkLst>
          <pc:docMk/>
          <pc:sldMk cId="2510494898" sldId="2025"/>
        </pc:sldMkLst>
      </pc:sldChg>
      <pc:sldChg chg="del">
        <pc:chgData name="Aurelien Domont" userId="6da7715ce44349b3" providerId="LiveId" clId="{64B1940C-EE70-441F-A583-16AE057539F0}" dt="2021-05-11T08:47:44.796" v="0" actId="47"/>
        <pc:sldMkLst>
          <pc:docMk/>
          <pc:sldMk cId="4191176648" sldId="2026"/>
        </pc:sldMkLst>
      </pc:sldChg>
      <pc:sldChg chg="del">
        <pc:chgData name="Aurelien Domont" userId="6da7715ce44349b3" providerId="LiveId" clId="{64B1940C-EE70-441F-A583-16AE057539F0}" dt="2021-05-11T08:47:44.796" v="0" actId="47"/>
        <pc:sldMkLst>
          <pc:docMk/>
          <pc:sldMk cId="4065434126" sldId="2027"/>
        </pc:sldMkLst>
      </pc:sldChg>
      <pc:sldChg chg="del">
        <pc:chgData name="Aurelien Domont" userId="6da7715ce44349b3" providerId="LiveId" clId="{64B1940C-EE70-441F-A583-16AE057539F0}" dt="2021-05-11T08:47:44.796" v="0" actId="47"/>
        <pc:sldMkLst>
          <pc:docMk/>
          <pc:sldMk cId="724289588" sldId="2028"/>
        </pc:sldMkLst>
      </pc:sldChg>
      <pc:sldChg chg="del">
        <pc:chgData name="Aurelien Domont" userId="6da7715ce44349b3" providerId="LiveId" clId="{64B1940C-EE70-441F-A583-16AE057539F0}" dt="2021-05-11T08:48:02.617" v="1" actId="47"/>
        <pc:sldMkLst>
          <pc:docMk/>
          <pc:sldMk cId="1151893028" sldId="2029"/>
        </pc:sldMkLst>
      </pc:sldChg>
      <pc:sldChg chg="del">
        <pc:chgData name="Aurelien Domont" userId="6da7715ce44349b3" providerId="LiveId" clId="{64B1940C-EE70-441F-A583-16AE057539F0}" dt="2021-05-11T08:48:02.617" v="1" actId="47"/>
        <pc:sldMkLst>
          <pc:docMk/>
          <pc:sldMk cId="3518638678" sldId="2030"/>
        </pc:sldMkLst>
      </pc:sldChg>
      <pc:sldChg chg="del">
        <pc:chgData name="Aurelien Domont" userId="6da7715ce44349b3" providerId="LiveId" clId="{64B1940C-EE70-441F-A583-16AE057539F0}" dt="2021-05-11T08:48:02.617" v="1" actId="47"/>
        <pc:sldMkLst>
          <pc:docMk/>
          <pc:sldMk cId="3867219056" sldId="2031"/>
        </pc:sldMkLst>
      </pc:sldChg>
      <pc:sldChg chg="del">
        <pc:chgData name="Aurelien Domont" userId="6da7715ce44349b3" providerId="LiveId" clId="{64B1940C-EE70-441F-A583-16AE057539F0}" dt="2021-05-11T08:48:02.617" v="1" actId="47"/>
        <pc:sldMkLst>
          <pc:docMk/>
          <pc:sldMk cId="2964978532" sldId="2032"/>
        </pc:sldMkLst>
      </pc:sldChg>
      <pc:sldChg chg="del">
        <pc:chgData name="Aurelien Domont" userId="6da7715ce44349b3" providerId="LiveId" clId="{64B1940C-EE70-441F-A583-16AE057539F0}" dt="2021-05-11T08:48:02.617" v="1" actId="47"/>
        <pc:sldMkLst>
          <pc:docMk/>
          <pc:sldMk cId="1692242364" sldId="2033"/>
        </pc:sldMkLst>
      </pc:sldChg>
      <pc:sldChg chg="addSp modSp add mod">
        <pc:chgData name="Aurelien Domont" userId="6da7715ce44349b3" providerId="LiveId" clId="{64B1940C-EE70-441F-A583-16AE057539F0}" dt="2021-05-11T08:51:05.258" v="16" actId="5793"/>
        <pc:sldMkLst>
          <pc:docMk/>
          <pc:sldMk cId="3148501183" sldId="2157"/>
        </pc:sldMkLst>
        <pc:spChg chg="mod">
          <ac:chgData name="Aurelien Domont" userId="6da7715ce44349b3" providerId="LiveId" clId="{64B1940C-EE70-441F-A583-16AE057539F0}" dt="2021-05-11T08:50:35.945" v="13" actId="108"/>
          <ac:spMkLst>
            <pc:docMk/>
            <pc:sldMk cId="3148501183" sldId="2157"/>
            <ac:spMk id="14" creationId="{493F826D-CCF6-440C-BFA4-C3799A3ED755}"/>
          </ac:spMkLst>
        </pc:spChg>
        <pc:spChg chg="add mod ord">
          <ac:chgData name="Aurelien Domont" userId="6da7715ce44349b3" providerId="LiveId" clId="{64B1940C-EE70-441F-A583-16AE057539F0}" dt="2021-05-11T08:50:41.009" v="14" actId="167"/>
          <ac:spMkLst>
            <pc:docMk/>
            <pc:sldMk cId="3148501183" sldId="2157"/>
            <ac:spMk id="15" creationId="{CCAB6B90-0758-47CF-8096-5A9B2172720E}"/>
          </ac:spMkLst>
        </pc:spChg>
        <pc:spChg chg="mod">
          <ac:chgData name="Aurelien Domont" userId="6da7715ce44349b3" providerId="LiveId" clId="{64B1940C-EE70-441F-A583-16AE057539F0}" dt="2021-05-11T08:51:05.258" v="16" actId="5793"/>
          <ac:spMkLst>
            <pc:docMk/>
            <pc:sldMk cId="3148501183" sldId="2157"/>
            <ac:spMk id="16" creationId="{6C2BB713-9637-4B9B-938F-E9768876782A}"/>
          </ac:spMkLst>
        </pc:spChg>
        <pc:spChg chg="mod">
          <ac:chgData name="Aurelien Domont" userId="6da7715ce44349b3" providerId="LiveId" clId="{64B1940C-EE70-441F-A583-16AE057539F0}" dt="2021-05-11T08:50:33.261" v="12" actId="108"/>
          <ac:spMkLst>
            <pc:docMk/>
            <pc:sldMk cId="3148501183" sldId="2157"/>
            <ac:spMk id="18" creationId="{0BCD4164-FFCE-447D-8269-E5891A7FEF0D}"/>
          </ac:spMkLst>
        </pc:sp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11T08:44:33.918" v="649" actId="33524"/>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modSp mod">
        <pc:chgData name="Aurelien Domont" userId="6da7715ce44349b3" providerId="LiveId" clId="{B98E20E2-7193-4695-BBC3-2E4ADB997CFA}" dt="2021-05-11T08:44:33.918" v="649" actId="33524"/>
        <pc:sldMkLst>
          <pc:docMk/>
          <pc:sldMk cId="2140429196" sldId="2014"/>
        </pc:sldMkLst>
        <pc:spChg chg="mod">
          <ac:chgData name="Aurelien Domont" userId="6da7715ce44349b3" providerId="LiveId" clId="{B98E20E2-7193-4695-BBC3-2E4ADB997CFA}" dt="2021-05-11T08:44:33.918" v="649" actId="33524"/>
          <ac:spMkLst>
            <pc:docMk/>
            <pc:sldMk cId="2140429196" sldId="2014"/>
            <ac:spMk id="36" creationId="{E4564E6D-4722-4FD1-909C-0E2489270B20}"/>
          </ac:spMkLst>
        </pc:sp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24ECC49D-7A68-4840-B1A5-D11056984AA1}"/>
    <pc:docChg chg="custSel addSld delSld modSld">
      <pc:chgData name="Aurelien Domont" userId="6da7715ce44349b3" providerId="LiveId" clId="{24ECC49D-7A68-4840-B1A5-D11056984AA1}" dt="2023-01-30T05:32:05.444" v="4" actId="47"/>
      <pc:docMkLst>
        <pc:docMk/>
      </pc:docMkLst>
      <pc:sldChg chg="addSp delSp modSp mod">
        <pc:chgData name="Aurelien Domont" userId="6da7715ce44349b3" providerId="LiveId" clId="{24ECC49D-7A68-4840-B1A5-D11056984AA1}" dt="2023-01-30T05:23:11.673" v="1"/>
        <pc:sldMkLst>
          <pc:docMk/>
          <pc:sldMk cId="3131901387" sldId="256"/>
        </pc:sldMkLst>
        <pc:picChg chg="add mod">
          <ac:chgData name="Aurelien Domont" userId="6da7715ce44349b3" providerId="LiveId" clId="{24ECC49D-7A68-4840-B1A5-D11056984AA1}" dt="2023-01-30T05:23:11.673" v="1"/>
          <ac:picMkLst>
            <pc:docMk/>
            <pc:sldMk cId="3131901387" sldId="256"/>
            <ac:picMk id="4" creationId="{3818E7C3-C4DF-5945-43F0-1235C83782FB}"/>
          </ac:picMkLst>
        </pc:picChg>
        <pc:picChg chg="del">
          <ac:chgData name="Aurelien Domont" userId="6da7715ce44349b3" providerId="LiveId" clId="{24ECC49D-7A68-4840-B1A5-D11056984AA1}" dt="2023-01-30T05:23:11.375" v="0" actId="478"/>
          <ac:picMkLst>
            <pc:docMk/>
            <pc:sldMk cId="3131901387" sldId="256"/>
            <ac:picMk id="7" creationId="{56F6D9FE-2BD8-43FA-8517-544E7B92AA1A}"/>
          </ac:picMkLst>
        </pc:picChg>
      </pc:sldChg>
      <pc:sldChg chg="add del">
        <pc:chgData name="Aurelien Domont" userId="6da7715ce44349b3" providerId="LiveId" clId="{24ECC49D-7A68-4840-B1A5-D11056984AA1}" dt="2023-01-30T05:32:05.444" v="4" actId="47"/>
        <pc:sldMkLst>
          <pc:docMk/>
          <pc:sldMk cId="1754585881" sldId="1598"/>
        </pc:sldMkLst>
      </pc:sldChg>
      <pc:sldChg chg="del">
        <pc:chgData name="Aurelien Domont" userId="6da7715ce44349b3" providerId="LiveId" clId="{24ECC49D-7A68-4840-B1A5-D11056984AA1}" dt="2023-01-30T05:32:04.103" v="3" actId="47"/>
        <pc:sldMkLst>
          <pc:docMk/>
          <pc:sldMk cId="2853806433" sldId="1600"/>
        </pc:sldMkLst>
      </pc:sldChg>
      <pc:sldChg chg="add">
        <pc:chgData name="Aurelien Domont" userId="6da7715ce44349b3" providerId="LiveId" clId="{24ECC49D-7A68-4840-B1A5-D11056984AA1}" dt="2023-01-30T05:32:01.305" v="2"/>
        <pc:sldMkLst>
          <pc:docMk/>
          <pc:sldMk cId="1289725493" sldId="214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2297198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975195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222786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451235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593588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3428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3091088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575889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3522392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9113209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AF961F-5277-4BE4-B8F6-3E070DD49E7F}"/>
              </a:ext>
            </a:extLst>
          </p:cNvPr>
          <p:cNvGraphicFramePr>
            <a:graphicFrameLocks noChangeAspect="1"/>
          </p:cNvGraphicFramePr>
          <p:nvPr userDrawn="1">
            <p:custDataLst>
              <p:tags r:id="rId1"/>
            </p:custDataLst>
            <p:extLst>
              <p:ext uri="{D42A27DB-BD31-4B8C-83A1-F6EECF244321}">
                <p14:modId xmlns:p14="http://schemas.microsoft.com/office/powerpoint/2010/main" val="414231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DAF961F-5277-4BE4-B8F6-3E070DD49E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8.xml"/><Relationship Id="rId5" Type="http://schemas.openxmlformats.org/officeDocument/2006/relationships/slideLayout" Target="../slideLayouts/slideLayout13.xml"/><Relationship Id="rId10" Type="http://schemas.openxmlformats.org/officeDocument/2006/relationships/tags" Target="../tags/tag17.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9.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33.xml"/><Relationship Id="rId5" Type="http://schemas.openxmlformats.org/officeDocument/2006/relationships/slideLayout" Target="../slideLayouts/slideLayout21.xml"/><Relationship Id="rId10" Type="http://schemas.openxmlformats.org/officeDocument/2006/relationships/tags" Target="../tags/tag32.x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28.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48.xml"/><Relationship Id="rId5" Type="http://schemas.openxmlformats.org/officeDocument/2006/relationships/slideLayout" Target="../slideLayouts/slideLayout29.xml"/><Relationship Id="rId10" Type="http://schemas.openxmlformats.org/officeDocument/2006/relationships/tags" Target="../tags/tag47.xml"/><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37.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63.xml"/><Relationship Id="rId5" Type="http://schemas.openxmlformats.org/officeDocument/2006/relationships/slideLayout" Target="../slideLayouts/slideLayout37.xml"/><Relationship Id="rId10" Type="http://schemas.openxmlformats.org/officeDocument/2006/relationships/tags" Target="../tags/tag62.xml"/><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4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78.xml"/><Relationship Id="rId5" Type="http://schemas.openxmlformats.org/officeDocument/2006/relationships/slideLayout" Target="../slideLayouts/slideLayout45.xml"/><Relationship Id="rId10" Type="http://schemas.openxmlformats.org/officeDocument/2006/relationships/tags" Target="../tags/tag77.xml"/><Relationship Id="rId4" Type="http://schemas.openxmlformats.org/officeDocument/2006/relationships/slideLayout" Target="../slideLayouts/slideLayout4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55.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93.xml"/><Relationship Id="rId5" Type="http://schemas.openxmlformats.org/officeDocument/2006/relationships/slideLayout" Target="../slideLayouts/slideLayout53.xml"/><Relationship Id="rId10" Type="http://schemas.openxmlformats.org/officeDocument/2006/relationships/tags" Target="../tags/tag92.xml"/><Relationship Id="rId4" Type="http://schemas.openxmlformats.org/officeDocument/2006/relationships/slideLayout" Target="../slideLayouts/slideLayout5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5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97.xml"/><Relationship Id="rId5" Type="http://schemas.openxmlformats.org/officeDocument/2006/relationships/slideLayout" Target="../slideLayouts/slideLayout61.xml"/><Relationship Id="rId10" Type="http://schemas.openxmlformats.org/officeDocument/2006/relationships/tags" Target="../tags/tag96.xml"/><Relationship Id="rId4" Type="http://schemas.openxmlformats.org/officeDocument/2006/relationships/slideLayout" Target="../slideLayouts/slideLayout6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1.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59.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101.xml"/><Relationship Id="rId5" Type="http://schemas.openxmlformats.org/officeDocument/2006/relationships/slideLayout" Target="../slideLayouts/slideLayout69.xml"/><Relationship Id="rId10" Type="http://schemas.openxmlformats.org/officeDocument/2006/relationships/tags" Target="../tags/tag100.xml"/><Relationship Id="rId4" Type="http://schemas.openxmlformats.org/officeDocument/2006/relationships/slideLayout" Target="../slideLayouts/slideLayout6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domontconsulting.com/" TargetMode="External"/><Relationship Id="rId3" Type="http://schemas.openxmlformats.org/officeDocument/2006/relationships/slideLayout" Target="../slideLayouts/slideLayout1.xml"/><Relationship Id="rId7" Type="http://schemas.openxmlformats.org/officeDocument/2006/relationships/image" Target="../media/image3.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12.xml"/><Relationship Id="rId9" Type="http://schemas.openxmlformats.org/officeDocument/2006/relationships/hyperlink" Target="http://www.domontconsulting.com/"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7.jpeg"/><Relationship Id="rId2" Type="http://schemas.openxmlformats.org/officeDocument/2006/relationships/slideLayout" Target="../slideLayouts/slideLayout3.xml"/><Relationship Id="rId1" Type="http://schemas.openxmlformats.org/officeDocument/2006/relationships/tags" Target="../tags/tag11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9087773" cy="1967160"/>
          </a:xfrm>
        </p:spPr>
        <p:txBody>
          <a:bodyPr>
            <a:normAutofit/>
          </a:bodyPr>
          <a:lstStyle/>
          <a:p>
            <a:pPr>
              <a:defRPr/>
            </a:pPr>
            <a:r>
              <a:rPr lang="en-GB" sz="4800" dirty="0"/>
              <a:t>Culture Integration Strategy and Plan</a:t>
            </a:r>
            <a:endParaRPr lang="en-US" sz="48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76999"/>
          </a:xfrm>
        </p:spPr>
        <p:txBody>
          <a:bodyPr lIns="0" tIns="0" rIns="0" bIns="0">
            <a:spAutoFit/>
          </a:bodyPr>
          <a:lstStyle/>
          <a:p>
            <a:pPr marR="0" lvl="0" fontAlgn="auto">
              <a:spcAft>
                <a:spcPts val="0"/>
              </a:spcAft>
              <a:buClrTx/>
              <a:buSzTx/>
              <a:tabLst/>
              <a:defRPr/>
            </a:pPr>
            <a:r>
              <a:rPr lang="en-US" sz="2000" b="1" dirty="0"/>
              <a:t>By ex-McKinsey, Deloitte &amp; BCG Management Consultant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3" name="Picture 6" descr="http://wearedevelopment.files.wordpress.com/2012/03/merger.jpg">
            <a:extLst>
              <a:ext uri="{FF2B5EF4-FFF2-40B4-BE49-F238E27FC236}">
                <a16:creationId xmlns:a16="http://schemas.microsoft.com/office/drawing/2014/main" id="{6E38BFE1-56A4-4E55-BEE6-88950EB7A801}"/>
              </a:ext>
            </a:extLst>
          </p:cNvPr>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99794" y="4080612"/>
            <a:ext cx="3972498" cy="2376408"/>
          </a:xfrm>
          <a:prstGeom prst="rect">
            <a:avLst/>
          </a:prstGeom>
          <a:noFill/>
        </p:spPr>
      </p:pic>
      <p:pic>
        <p:nvPicPr>
          <p:cNvPr id="4" name="Picture 3">
            <a:hlinkClick r:id="rId8"/>
            <a:extLst>
              <a:ext uri="{FF2B5EF4-FFF2-40B4-BE49-F238E27FC236}">
                <a16:creationId xmlns:a16="http://schemas.microsoft.com/office/drawing/2014/main" id="{3818E7C3-C4DF-5945-43F0-1235C83782FB}"/>
              </a:ext>
            </a:extLst>
          </p:cNvPr>
          <p:cNvPicPr>
            <a:picLocks noChangeAspect="1"/>
          </p:cNvPicPr>
          <p:nvPr/>
        </p:nvPicPr>
        <p:blipFill>
          <a:blip r:embed="rId9"/>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31708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3: New corporate culture desig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17" name="Title 1">
            <a:extLst>
              <a:ext uri="{FF2B5EF4-FFF2-40B4-BE49-F238E27FC236}">
                <a16:creationId xmlns:a16="http://schemas.microsoft.com/office/drawing/2014/main" id="{B6B27B2D-AA8E-4306-A7FA-F3275D55AF1B}"/>
              </a:ext>
            </a:extLst>
          </p:cNvPr>
          <p:cNvSpPr txBox="1">
            <a:spLocks/>
          </p:cNvSpPr>
          <p:nvPr/>
        </p:nvSpPr>
        <p:spPr bwMode="auto">
          <a:xfrm>
            <a:off x="613065" y="1607127"/>
            <a:ext cx="10974098" cy="30469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solidFill>
                  <a:schemeClr val="tx1"/>
                </a:solidFill>
              </a:rPr>
              <a:t>Based on the </a:t>
            </a:r>
            <a:r>
              <a:rPr lang="en-US" sz="1800" b="0" kern="0">
                <a:solidFill>
                  <a:schemeClr val="tx1"/>
                </a:solidFill>
              </a:rPr>
              <a:t>detailed assessment</a:t>
            </a:r>
            <a:r>
              <a:rPr lang="en-US" sz="1800" b="0" kern="0" dirty="0">
                <a:solidFill>
                  <a:schemeClr val="tx1"/>
                </a:solidFill>
              </a:rPr>
              <a:t>, Executives, Managers and Employees from the acquiring and acquired companies will have to collaboratively design the new corporate culture.</a:t>
            </a:r>
          </a:p>
          <a:p>
            <a:endParaRPr lang="en-US" sz="1800" b="0" kern="0" dirty="0">
              <a:solidFill>
                <a:schemeClr val="tx1"/>
              </a:solidFill>
            </a:endParaRPr>
          </a:p>
          <a:p>
            <a:r>
              <a:rPr lang="en-US" sz="1800" b="0" kern="0" dirty="0">
                <a:solidFill>
                  <a:schemeClr val="tx1"/>
                </a:solidFill>
              </a:rPr>
              <a:t>Many workshops will have to be organized where key stakeholders will have to answer questions such as:</a:t>
            </a:r>
          </a:p>
          <a:p>
            <a:pPr marL="134938" indent="-134938">
              <a:buFont typeface="Arial" panose="020B0604020202020204" pitchFamily="34" charset="0"/>
              <a:buChar char="•"/>
            </a:pPr>
            <a:r>
              <a:rPr lang="en-US" sz="1800" b="0" kern="0" dirty="0">
                <a:solidFill>
                  <a:schemeClr val="tx1"/>
                </a:solidFill>
              </a:rPr>
              <a:t>How do we want to work together as a company in the future?</a:t>
            </a:r>
          </a:p>
          <a:p>
            <a:pPr marL="134938" indent="-134938">
              <a:buFont typeface="Arial" panose="020B0604020202020204" pitchFamily="34" charset="0"/>
              <a:buChar char="•"/>
            </a:pPr>
            <a:r>
              <a:rPr lang="en-US" sz="1800" b="0" kern="0" dirty="0">
                <a:solidFill>
                  <a:schemeClr val="tx1"/>
                </a:solidFill>
              </a:rPr>
              <a:t>What should be our core values?</a:t>
            </a:r>
          </a:p>
          <a:p>
            <a:endParaRPr lang="en-US" sz="1800" b="0" kern="0" dirty="0">
              <a:solidFill>
                <a:schemeClr val="tx1"/>
              </a:solidFill>
            </a:endParaRPr>
          </a:p>
          <a:p>
            <a:r>
              <a:rPr lang="en-US" sz="1800" b="0" kern="0" dirty="0">
                <a:solidFill>
                  <a:schemeClr val="tx1"/>
                </a:solidFill>
              </a:rPr>
              <a:t>The new culture will have to help the company achieve its vision and strategic goals.</a:t>
            </a:r>
          </a:p>
          <a:p>
            <a:endParaRPr lang="en-US" sz="1800" b="0" kern="0" dirty="0">
              <a:solidFill>
                <a:schemeClr val="tx1"/>
              </a:solidFill>
            </a:endParaRPr>
          </a:p>
          <a:p>
            <a:r>
              <a:rPr lang="en-US" sz="1800" b="0" kern="0" dirty="0">
                <a:solidFill>
                  <a:schemeClr val="tx1"/>
                </a:solidFill>
              </a:rPr>
              <a:t>It will have to be communicated throughout the organization and serve as the foundation for the program of ongoing actions.</a:t>
            </a:r>
          </a:p>
        </p:txBody>
      </p:sp>
    </p:spTree>
    <p:extLst>
      <p:ext uri="{BB962C8B-B14F-4D97-AF65-F5344CB8AC3E}">
        <p14:creationId xmlns:p14="http://schemas.microsoft.com/office/powerpoint/2010/main" val="1850178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258950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4: New corporate culture implement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17" name="Title 1">
            <a:extLst>
              <a:ext uri="{FF2B5EF4-FFF2-40B4-BE49-F238E27FC236}">
                <a16:creationId xmlns:a16="http://schemas.microsoft.com/office/drawing/2014/main" id="{B6B27B2D-AA8E-4306-A7FA-F3275D55AF1B}"/>
              </a:ext>
            </a:extLst>
          </p:cNvPr>
          <p:cNvSpPr txBox="1">
            <a:spLocks/>
          </p:cNvSpPr>
          <p:nvPr/>
        </p:nvSpPr>
        <p:spPr bwMode="auto">
          <a:xfrm>
            <a:off x="613065" y="1607127"/>
            <a:ext cx="10974098"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solidFill>
                  <a:schemeClr val="tx1"/>
                </a:solidFill>
              </a:rPr>
              <a:t>Implementing a new corporate culture is not an easy task. The top 5 key success factors to implement a new corporate culture are:</a:t>
            </a:r>
          </a:p>
        </p:txBody>
      </p:sp>
      <p:sp>
        <p:nvSpPr>
          <p:cNvPr id="10" name="Rectangle 9">
            <a:extLst>
              <a:ext uri="{FF2B5EF4-FFF2-40B4-BE49-F238E27FC236}">
                <a16:creationId xmlns:a16="http://schemas.microsoft.com/office/drawing/2014/main" id="{8BDEE24B-A0AA-4C2E-9D1A-1CFA164A0673}"/>
              </a:ext>
            </a:extLst>
          </p:cNvPr>
          <p:cNvSpPr/>
          <p:nvPr/>
        </p:nvSpPr>
        <p:spPr>
          <a:xfrm>
            <a:off x="604837" y="2375962"/>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involve as many stakeholders as possible during the new corporate culture design phase</a:t>
            </a:r>
          </a:p>
        </p:txBody>
      </p:sp>
      <p:sp>
        <p:nvSpPr>
          <p:cNvPr id="11" name="Rectangle 10">
            <a:extLst>
              <a:ext uri="{FF2B5EF4-FFF2-40B4-BE49-F238E27FC236}">
                <a16:creationId xmlns:a16="http://schemas.microsoft.com/office/drawing/2014/main" id="{96ABBFB8-5643-48EE-90DD-C62DFB9BA182}"/>
              </a:ext>
            </a:extLst>
          </p:cNvPr>
          <p:cNvSpPr/>
          <p:nvPr/>
        </p:nvSpPr>
        <p:spPr>
          <a:xfrm>
            <a:off x="604837" y="3210722"/>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provide as much openness and transparency as possible</a:t>
            </a:r>
          </a:p>
        </p:txBody>
      </p:sp>
      <p:sp>
        <p:nvSpPr>
          <p:cNvPr id="12" name="Rectangle 11">
            <a:extLst>
              <a:ext uri="{FF2B5EF4-FFF2-40B4-BE49-F238E27FC236}">
                <a16:creationId xmlns:a16="http://schemas.microsoft.com/office/drawing/2014/main" id="{492994B2-BEB9-4954-AFB0-CBE308350609}"/>
              </a:ext>
            </a:extLst>
          </p:cNvPr>
          <p:cNvSpPr/>
          <p:nvPr/>
        </p:nvSpPr>
        <p:spPr>
          <a:xfrm>
            <a:off x="604837" y="4045482"/>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reflect the new culture in the company incentive &amp; reward program</a:t>
            </a:r>
          </a:p>
        </p:txBody>
      </p:sp>
      <p:sp>
        <p:nvSpPr>
          <p:cNvPr id="14" name="Rectangle 13">
            <a:extLst>
              <a:ext uri="{FF2B5EF4-FFF2-40B4-BE49-F238E27FC236}">
                <a16:creationId xmlns:a16="http://schemas.microsoft.com/office/drawing/2014/main" id="{06F67609-B01C-4BCB-9DBB-636C25469406}"/>
              </a:ext>
            </a:extLst>
          </p:cNvPr>
          <p:cNvSpPr/>
          <p:nvPr/>
        </p:nvSpPr>
        <p:spPr>
          <a:xfrm>
            <a:off x="604837" y="4880242"/>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communicate regularly and effectively on the new culture</a:t>
            </a:r>
          </a:p>
        </p:txBody>
      </p:sp>
      <p:sp>
        <p:nvSpPr>
          <p:cNvPr id="15" name="Rectangle 14">
            <a:extLst>
              <a:ext uri="{FF2B5EF4-FFF2-40B4-BE49-F238E27FC236}">
                <a16:creationId xmlns:a16="http://schemas.microsoft.com/office/drawing/2014/main" id="{B9644CEF-B483-4899-AB3E-AD8B18A7D977}"/>
              </a:ext>
            </a:extLst>
          </p:cNvPr>
          <p:cNvSpPr/>
          <p:nvPr/>
        </p:nvSpPr>
        <p:spPr>
          <a:xfrm>
            <a:off x="604837" y="5715000"/>
            <a:ext cx="10974098"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b="1" dirty="0">
                <a:solidFill>
                  <a:schemeClr val="tx2"/>
                </a:solidFill>
              </a:rPr>
              <a:t>To make sure that every executive is a good role model</a:t>
            </a:r>
          </a:p>
        </p:txBody>
      </p:sp>
    </p:spTree>
    <p:extLst>
      <p:ext uri="{BB962C8B-B14F-4D97-AF65-F5344CB8AC3E}">
        <p14:creationId xmlns:p14="http://schemas.microsoft.com/office/powerpoint/2010/main" val="1391445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2</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CAB6B90-0758-47CF-8096-5A9B2172720E}"/>
              </a:ext>
            </a:extLst>
          </p:cNvPr>
          <p:cNvSpPr/>
          <p:nvPr/>
        </p:nvSpPr>
        <p:spPr bwMode="auto">
          <a:xfrm>
            <a:off x="4290798" y="3848103"/>
            <a:ext cx="3474136" cy="32112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US" sz="2400" dirty="0">
                <a:solidFill>
                  <a:srgbClr val="002776"/>
                </a:solidFill>
              </a:rPr>
              <a:t>Culture integration strategy and pla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a:t>
            </a:r>
            <a:r>
              <a:rPr lang="en-US" sz="1300" b="1">
                <a:solidFill>
                  <a:schemeClr val="bg1"/>
                </a:solidFill>
                <a:cs typeface="Times New Roman" pitchFamily="18" charset="0"/>
              </a:rPr>
              <a:t>High-Level Plan</a:t>
            </a:r>
            <a:endParaRPr lang="en-US" sz="1300" b="1"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a:t>
            </a:r>
            <a:r>
              <a:rPr lang="en-US" sz="1300" b="1">
                <a:solidFill>
                  <a:schemeClr val="bg1"/>
                </a:solidFill>
                <a:cs typeface="Times New Roman" pitchFamily="18" charset="0"/>
              </a:rPr>
              <a:t>Detailed Plans</a:t>
            </a:r>
            <a:endParaRPr lang="en-US" sz="1300" b="1"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2575064"/>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3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Integration &amp; synergy initiatives</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Playbook of the approach</a:t>
            </a:r>
          </a:p>
        </p:txBody>
      </p:sp>
    </p:spTree>
    <p:extLst>
      <p:ext uri="{BB962C8B-B14F-4D97-AF65-F5344CB8AC3E}">
        <p14:creationId xmlns:p14="http://schemas.microsoft.com/office/powerpoint/2010/main" val="3148501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89740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chemeClr val="accent1"/>
                </a:solidFill>
              </a:rPr>
              <a:t>There are many examples of mergers that didn’t work because of Cultural issues (1/2):</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20" name="Rectangle 19">
            <a:extLst>
              <a:ext uri="{FF2B5EF4-FFF2-40B4-BE49-F238E27FC236}">
                <a16:creationId xmlns:a16="http://schemas.microsoft.com/office/drawing/2014/main" id="{9E568D6A-A3C8-41EF-8799-9B723819E568}"/>
              </a:ext>
            </a:extLst>
          </p:cNvPr>
          <p:cNvSpPr/>
          <p:nvPr/>
        </p:nvSpPr>
        <p:spPr>
          <a:xfrm>
            <a:off x="618260" y="1644082"/>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New York Central Railroad &amp; Pennsylvania Railroad </a:t>
            </a:r>
          </a:p>
        </p:txBody>
      </p:sp>
      <p:sp>
        <p:nvSpPr>
          <p:cNvPr id="21" name="Rectangle 20">
            <a:extLst>
              <a:ext uri="{FF2B5EF4-FFF2-40B4-BE49-F238E27FC236}">
                <a16:creationId xmlns:a16="http://schemas.microsoft.com/office/drawing/2014/main" id="{7104AA12-F706-4F44-87F6-1B7F0090E61B}"/>
              </a:ext>
            </a:extLst>
          </p:cNvPr>
          <p:cNvSpPr/>
          <p:nvPr/>
        </p:nvSpPr>
        <p:spPr>
          <a:xfrm>
            <a:off x="2704727" y="1644082"/>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1968, two longtime railway rivals, New York Central Railroad and Pennsylvania Railroad merged to become Penn Central, the sixth largest corporation in America. What Penn Central did not expect was that years of fierce competition made it impossible for the two companies to work cooperatively together. The company filed for bankruptcy after only two years.</a:t>
            </a:r>
          </a:p>
        </p:txBody>
      </p:sp>
      <p:sp>
        <p:nvSpPr>
          <p:cNvPr id="22" name="Rectangle 21">
            <a:extLst>
              <a:ext uri="{FF2B5EF4-FFF2-40B4-BE49-F238E27FC236}">
                <a16:creationId xmlns:a16="http://schemas.microsoft.com/office/drawing/2014/main" id="{544340AD-5F9A-4CAE-9B73-ECECF09879FC}"/>
              </a:ext>
            </a:extLst>
          </p:cNvPr>
          <p:cNvSpPr/>
          <p:nvPr/>
        </p:nvSpPr>
        <p:spPr>
          <a:xfrm>
            <a:off x="618260" y="3229512"/>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Daimler &amp; Chrysler</a:t>
            </a:r>
          </a:p>
        </p:txBody>
      </p:sp>
      <p:sp>
        <p:nvSpPr>
          <p:cNvPr id="23" name="Rectangle 22">
            <a:extLst>
              <a:ext uri="{FF2B5EF4-FFF2-40B4-BE49-F238E27FC236}">
                <a16:creationId xmlns:a16="http://schemas.microsoft.com/office/drawing/2014/main" id="{E4169D54-64F8-49C1-B0AE-C842B28CFA4C}"/>
              </a:ext>
            </a:extLst>
          </p:cNvPr>
          <p:cNvSpPr/>
          <p:nvPr/>
        </p:nvSpPr>
        <p:spPr>
          <a:xfrm>
            <a:off x="2704727" y="3229512"/>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When German Daimler (the makers of Mercedes-Benz) merged with American company Chrysler in the late 1990s, it was called a “merger of equals.” A few years later it was being called a “fiasco.” Discordant company cultures had the two divisions at war as soon as they merged. Differences between the companies included their level of formality, philosophy on issues such as pay and expenses, and operating styles. The German culture became dominant and employee satisfaction levels at Chrysler dropped off the map. One unhappy joke circulating at Chrysler at the time was “How do you pronounce DaimlerChrysler?… ‘Daimler’—the ‘Chrysler’ is silent.” By 2000, major losses were projected and, a year later, layoffs began. In 2007, Daimler sold Chrysler to Cerberus Capital Management for $6 billion.</a:t>
            </a:r>
            <a:endParaRPr lang="en-AU" sz="1100" b="1" dirty="0">
              <a:solidFill>
                <a:schemeClr val="tx1"/>
              </a:solidFill>
            </a:endParaRPr>
          </a:p>
        </p:txBody>
      </p:sp>
      <p:sp>
        <p:nvSpPr>
          <p:cNvPr id="24" name="Rectangle 23">
            <a:extLst>
              <a:ext uri="{FF2B5EF4-FFF2-40B4-BE49-F238E27FC236}">
                <a16:creationId xmlns:a16="http://schemas.microsoft.com/office/drawing/2014/main" id="{B0AA1AD6-4D52-4CBE-A525-DF184022BF96}"/>
              </a:ext>
            </a:extLst>
          </p:cNvPr>
          <p:cNvSpPr/>
          <p:nvPr/>
        </p:nvSpPr>
        <p:spPr>
          <a:xfrm>
            <a:off x="618260" y="4819175"/>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AOL &amp; Time Warner</a:t>
            </a:r>
          </a:p>
        </p:txBody>
      </p:sp>
      <p:sp>
        <p:nvSpPr>
          <p:cNvPr id="34" name="Rectangle 33">
            <a:extLst>
              <a:ext uri="{FF2B5EF4-FFF2-40B4-BE49-F238E27FC236}">
                <a16:creationId xmlns:a16="http://schemas.microsoft.com/office/drawing/2014/main" id="{84660A8D-B6F9-4589-B1EC-BFB8D111F3F6}"/>
              </a:ext>
            </a:extLst>
          </p:cNvPr>
          <p:cNvSpPr/>
          <p:nvPr/>
        </p:nvSpPr>
        <p:spPr>
          <a:xfrm>
            <a:off x="2704727" y="4819175"/>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January of 2000, Time Warner stock sold for $71.88. By 2008 you could buy a share of Time Warner for less than $15. What happened to the media giant? A failed $350 billion merger with AOL. Culture clash was widely blamed for the failure of the joint venture. Said Richard Parsons, president of Time Warner: “I remember saying at a vital board meeting where we approved this, that life was going to be different going forward because they’re very different cultures, but I have to tell you, I underestimated how different… It was beyond certainly my abilities to figure out how to blend the old media and the new media culture.”</a:t>
            </a:r>
            <a:endParaRPr lang="en-AU" sz="1100" b="1" dirty="0">
              <a:solidFill>
                <a:schemeClr val="tx1"/>
              </a:solidFill>
            </a:endParaRPr>
          </a:p>
        </p:txBody>
      </p:sp>
      <p:sp>
        <p:nvSpPr>
          <p:cNvPr id="35" name="TextBox 34">
            <a:extLst>
              <a:ext uri="{FF2B5EF4-FFF2-40B4-BE49-F238E27FC236}">
                <a16:creationId xmlns:a16="http://schemas.microsoft.com/office/drawing/2014/main" id="{F1722018-E459-4BF9-8364-790DDDC4018F}"/>
              </a:ext>
            </a:extLst>
          </p:cNvPr>
          <p:cNvSpPr txBox="1"/>
          <p:nvPr/>
        </p:nvSpPr>
        <p:spPr>
          <a:xfrm>
            <a:off x="618260" y="6339609"/>
            <a:ext cx="8001000" cy="261610"/>
          </a:xfrm>
          <a:prstGeom prst="rect">
            <a:avLst/>
          </a:prstGeom>
          <a:noFill/>
        </p:spPr>
        <p:txBody>
          <a:bodyPr wrap="square" rtlCol="0">
            <a:spAutoFit/>
          </a:bodyPr>
          <a:lstStyle/>
          <a:p>
            <a:r>
              <a:rPr lang="en-US" sz="1100" dirty="0">
                <a:solidFill>
                  <a:schemeClr val="tx2"/>
                </a:solidFill>
              </a:rPr>
              <a:t>Source: Globoforce</a:t>
            </a:r>
          </a:p>
        </p:txBody>
      </p:sp>
    </p:spTree>
    <p:extLst>
      <p:ext uri="{BB962C8B-B14F-4D97-AF65-F5344CB8AC3E}">
        <p14:creationId xmlns:p14="http://schemas.microsoft.com/office/powerpoint/2010/main" val="29682558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949615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chemeClr val="accent1"/>
                </a:solidFill>
              </a:rPr>
              <a:t>There are many examples of mergers that didn’t work because of Cultural issues (2/2):</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20" name="Rectangle 19">
            <a:extLst>
              <a:ext uri="{FF2B5EF4-FFF2-40B4-BE49-F238E27FC236}">
                <a16:creationId xmlns:a16="http://schemas.microsoft.com/office/drawing/2014/main" id="{9E568D6A-A3C8-41EF-8799-9B723819E568}"/>
              </a:ext>
            </a:extLst>
          </p:cNvPr>
          <p:cNvSpPr/>
          <p:nvPr/>
        </p:nvSpPr>
        <p:spPr>
          <a:xfrm>
            <a:off x="618260" y="1644082"/>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Novell &amp; </a:t>
            </a:r>
            <a:br>
              <a:rPr lang="en-US" sz="1400" b="1" dirty="0">
                <a:solidFill>
                  <a:schemeClr val="bg1"/>
                </a:solidFill>
              </a:rPr>
            </a:br>
            <a:r>
              <a:rPr lang="en-US" sz="1400" b="1" dirty="0">
                <a:solidFill>
                  <a:schemeClr val="bg1"/>
                </a:solidFill>
              </a:rPr>
              <a:t>WordPerfect</a:t>
            </a:r>
          </a:p>
        </p:txBody>
      </p:sp>
      <p:sp>
        <p:nvSpPr>
          <p:cNvPr id="21" name="Rectangle 20">
            <a:extLst>
              <a:ext uri="{FF2B5EF4-FFF2-40B4-BE49-F238E27FC236}">
                <a16:creationId xmlns:a16="http://schemas.microsoft.com/office/drawing/2014/main" id="{7104AA12-F706-4F44-87F6-1B7F0090E61B}"/>
              </a:ext>
            </a:extLst>
          </p:cNvPr>
          <p:cNvSpPr/>
          <p:nvPr/>
        </p:nvSpPr>
        <p:spPr>
          <a:xfrm>
            <a:off x="2704727" y="1644082"/>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1986, WordPerfect was the nation’s best-selling word processing software. For the next few years the private software company grew steadily, despite being locked in a battle with rival Microsoft for market share. In March 1994, WordPerfect signed a merger agreement with Novell, Inc. It should have been a match made in heaven, but the management of the two companies were in conflict from the start. The merger was followed by layoffs at both companies and a steep drop in share value. With the focus on internal discord, WordPerfect lost its market leadership. Two years later, Novell sold WordPerfect to </a:t>
            </a:r>
            <a:r>
              <a:rPr lang="en-US" sz="1100" b="1" dirty="0" err="1">
                <a:solidFill>
                  <a:schemeClr val="tx1"/>
                </a:solidFill>
              </a:rPr>
              <a:t>Corell</a:t>
            </a:r>
            <a:r>
              <a:rPr lang="en-US" sz="1100" b="1" dirty="0">
                <a:solidFill>
                  <a:schemeClr val="tx1"/>
                </a:solidFill>
              </a:rPr>
              <a:t> for $1 billion less than they had paid.</a:t>
            </a:r>
          </a:p>
        </p:txBody>
      </p:sp>
      <p:sp>
        <p:nvSpPr>
          <p:cNvPr id="22" name="Rectangle 21">
            <a:extLst>
              <a:ext uri="{FF2B5EF4-FFF2-40B4-BE49-F238E27FC236}">
                <a16:creationId xmlns:a16="http://schemas.microsoft.com/office/drawing/2014/main" id="{544340AD-5F9A-4CAE-9B73-ECECF09879FC}"/>
              </a:ext>
            </a:extLst>
          </p:cNvPr>
          <p:cNvSpPr/>
          <p:nvPr/>
        </p:nvSpPr>
        <p:spPr>
          <a:xfrm>
            <a:off x="618260" y="3229512"/>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Sprint &amp; Nextel</a:t>
            </a:r>
          </a:p>
        </p:txBody>
      </p:sp>
      <p:sp>
        <p:nvSpPr>
          <p:cNvPr id="23" name="Rectangle 22">
            <a:extLst>
              <a:ext uri="{FF2B5EF4-FFF2-40B4-BE49-F238E27FC236}">
                <a16:creationId xmlns:a16="http://schemas.microsoft.com/office/drawing/2014/main" id="{E4169D54-64F8-49C1-B0AE-C842B28CFA4C}"/>
              </a:ext>
            </a:extLst>
          </p:cNvPr>
          <p:cNvSpPr/>
          <p:nvPr/>
        </p:nvSpPr>
        <p:spPr>
          <a:xfrm>
            <a:off x="2704727" y="3229512"/>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2005, in a bid to keep pace with industry giants like Verizon &amp; AT&amp;T, Sprint acquired rival Nextel for $35 billion. By 2008, the company had written down 80% of the value of the Nextel, confirming the widely held belief that the merger had been a failure. That failure is widely attributed to a culture clash between the entrepreneurial, khaki culture of Nextel and the buttoned-down formality of bureaucratic Sprint. A Washington Post article written two years into the merger stated: “The two sharply different cultures have resulted in clashes in everything from advertising strategy to cellphone technologies.” In early 2012 Sprint announced it would be ridding itself of the Nextel network, marking what CNET calls “a concluding chapter in one of the worst mergers in history.”</a:t>
            </a:r>
          </a:p>
        </p:txBody>
      </p:sp>
      <p:sp>
        <p:nvSpPr>
          <p:cNvPr id="24" name="Rectangle 23">
            <a:extLst>
              <a:ext uri="{FF2B5EF4-FFF2-40B4-BE49-F238E27FC236}">
                <a16:creationId xmlns:a16="http://schemas.microsoft.com/office/drawing/2014/main" id="{B0AA1AD6-4D52-4CBE-A525-DF184022BF96}"/>
              </a:ext>
            </a:extLst>
          </p:cNvPr>
          <p:cNvSpPr/>
          <p:nvPr/>
        </p:nvSpPr>
        <p:spPr>
          <a:xfrm>
            <a:off x="618260" y="4819175"/>
            <a:ext cx="2007119" cy="1445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HP and Compaq</a:t>
            </a:r>
          </a:p>
        </p:txBody>
      </p:sp>
      <p:sp>
        <p:nvSpPr>
          <p:cNvPr id="34" name="Rectangle 33">
            <a:extLst>
              <a:ext uri="{FF2B5EF4-FFF2-40B4-BE49-F238E27FC236}">
                <a16:creationId xmlns:a16="http://schemas.microsoft.com/office/drawing/2014/main" id="{84660A8D-B6F9-4589-B1EC-BFB8D111F3F6}"/>
              </a:ext>
            </a:extLst>
          </p:cNvPr>
          <p:cNvSpPr/>
          <p:nvPr/>
        </p:nvSpPr>
        <p:spPr>
          <a:xfrm>
            <a:off x="2704727" y="4819175"/>
            <a:ext cx="8869013" cy="1445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In 2001, struggling computing giant Hewlett Packard announced it would acquire similarly struggling competitor Compaq. The merger was ill-fated from the start, as critics pointed out how the HP engineering-driven culture was based on consensus and the sales-driven Compaq culture on rapid decision making. This poor cultural fit resulted in years of bitter infighting in the new company, and resulted in a loss of an estimated 13 billion dollars in market capitalization. Though the merger itself was widely regarded as a failure, the company has hung on, and has been able to make significant cultural and leadership changes that have resulted in long-term success.</a:t>
            </a:r>
          </a:p>
        </p:txBody>
      </p:sp>
      <p:sp>
        <p:nvSpPr>
          <p:cNvPr id="35" name="TextBox 34">
            <a:extLst>
              <a:ext uri="{FF2B5EF4-FFF2-40B4-BE49-F238E27FC236}">
                <a16:creationId xmlns:a16="http://schemas.microsoft.com/office/drawing/2014/main" id="{F1722018-E459-4BF9-8364-790DDDC4018F}"/>
              </a:ext>
            </a:extLst>
          </p:cNvPr>
          <p:cNvSpPr txBox="1"/>
          <p:nvPr/>
        </p:nvSpPr>
        <p:spPr>
          <a:xfrm>
            <a:off x="618260" y="6339609"/>
            <a:ext cx="8001000" cy="261610"/>
          </a:xfrm>
          <a:prstGeom prst="rect">
            <a:avLst/>
          </a:prstGeom>
          <a:noFill/>
        </p:spPr>
        <p:txBody>
          <a:bodyPr wrap="square" rtlCol="0">
            <a:spAutoFit/>
          </a:bodyPr>
          <a:lstStyle/>
          <a:p>
            <a:r>
              <a:rPr lang="en-US" sz="1100" dirty="0">
                <a:solidFill>
                  <a:schemeClr val="tx2"/>
                </a:solidFill>
              </a:rPr>
              <a:t>Source: Globoforce</a:t>
            </a:r>
          </a:p>
        </p:txBody>
      </p:sp>
    </p:spTree>
    <p:extLst>
      <p:ext uri="{BB962C8B-B14F-4D97-AF65-F5344CB8AC3E}">
        <p14:creationId xmlns:p14="http://schemas.microsoft.com/office/powerpoint/2010/main" val="23007277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55893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ee below a proven approach to mitigate the risk of failure due to cultural mismat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14" name="Arrow: Pentagon 13">
            <a:extLst>
              <a:ext uri="{FF2B5EF4-FFF2-40B4-BE49-F238E27FC236}">
                <a16:creationId xmlns:a16="http://schemas.microsoft.com/office/drawing/2014/main" id="{D924E3C6-A99B-468D-A7FE-E2951406A576}"/>
              </a:ext>
            </a:extLst>
          </p:cNvPr>
          <p:cNvSpPr/>
          <p:nvPr/>
        </p:nvSpPr>
        <p:spPr>
          <a:xfrm>
            <a:off x="590103" y="3187539"/>
            <a:ext cx="3030778" cy="1727361"/>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1.High-level assessment of the two corporate cultures</a:t>
            </a:r>
          </a:p>
        </p:txBody>
      </p:sp>
      <p:sp>
        <p:nvSpPr>
          <p:cNvPr id="15" name="Arrow: Chevron 14">
            <a:extLst>
              <a:ext uri="{FF2B5EF4-FFF2-40B4-BE49-F238E27FC236}">
                <a16:creationId xmlns:a16="http://schemas.microsoft.com/office/drawing/2014/main" id="{3641FB4A-4E7E-4C07-9464-7D3EF421152E}"/>
              </a:ext>
            </a:extLst>
          </p:cNvPr>
          <p:cNvSpPr/>
          <p:nvPr/>
        </p:nvSpPr>
        <p:spPr>
          <a:xfrm>
            <a:off x="3245530" y="3187539"/>
            <a:ext cx="3030778" cy="1727361"/>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1600" b="1" dirty="0">
                <a:solidFill>
                  <a:schemeClr val="bg1"/>
                </a:solidFill>
              </a:rPr>
              <a:t>2.Detailed assessment of the two corporate cultures</a:t>
            </a:r>
          </a:p>
        </p:txBody>
      </p:sp>
      <p:sp>
        <p:nvSpPr>
          <p:cNvPr id="17" name="Arrow: Chevron 16">
            <a:extLst>
              <a:ext uri="{FF2B5EF4-FFF2-40B4-BE49-F238E27FC236}">
                <a16:creationId xmlns:a16="http://schemas.microsoft.com/office/drawing/2014/main" id="{8341FFA4-F801-4F79-A9ED-CA608AEAF01A}"/>
              </a:ext>
            </a:extLst>
          </p:cNvPr>
          <p:cNvSpPr/>
          <p:nvPr/>
        </p:nvSpPr>
        <p:spPr>
          <a:xfrm>
            <a:off x="5900957" y="3187539"/>
            <a:ext cx="3030778" cy="1727361"/>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1600" b="1" dirty="0">
                <a:solidFill>
                  <a:schemeClr val="bg1"/>
                </a:solidFill>
              </a:rPr>
              <a:t>3.New corporate culture design</a:t>
            </a:r>
          </a:p>
        </p:txBody>
      </p:sp>
      <p:sp>
        <p:nvSpPr>
          <p:cNvPr id="18" name="Arrow: Chevron 17">
            <a:extLst>
              <a:ext uri="{FF2B5EF4-FFF2-40B4-BE49-F238E27FC236}">
                <a16:creationId xmlns:a16="http://schemas.microsoft.com/office/drawing/2014/main" id="{B9BFF6D9-9C3A-43E4-8466-A0AE9D5AAC54}"/>
              </a:ext>
            </a:extLst>
          </p:cNvPr>
          <p:cNvSpPr/>
          <p:nvPr/>
        </p:nvSpPr>
        <p:spPr>
          <a:xfrm>
            <a:off x="8556385" y="3187539"/>
            <a:ext cx="3030778" cy="1727361"/>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1600" b="1" dirty="0">
                <a:solidFill>
                  <a:schemeClr val="bg1"/>
                </a:solidFill>
              </a:rPr>
              <a:t>4.New corporate culture implementation</a:t>
            </a:r>
          </a:p>
        </p:txBody>
      </p:sp>
      <p:sp>
        <p:nvSpPr>
          <p:cNvPr id="19" name="Left Brace 18">
            <a:extLst>
              <a:ext uri="{FF2B5EF4-FFF2-40B4-BE49-F238E27FC236}">
                <a16:creationId xmlns:a16="http://schemas.microsoft.com/office/drawing/2014/main" id="{E2087C35-FEC9-4B07-9B7D-C863594BE565}"/>
              </a:ext>
            </a:extLst>
          </p:cNvPr>
          <p:cNvSpPr/>
          <p:nvPr/>
        </p:nvSpPr>
        <p:spPr>
          <a:xfrm rot="5400000">
            <a:off x="7693066" y="-432630"/>
            <a:ext cx="267679" cy="6665869"/>
          </a:xfrm>
          <a:prstGeom prst="leftBrace">
            <a:avLst>
              <a:gd name="adj1" fmla="val 27742"/>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5" name="Left Brace 24">
            <a:extLst>
              <a:ext uri="{FF2B5EF4-FFF2-40B4-BE49-F238E27FC236}">
                <a16:creationId xmlns:a16="http://schemas.microsoft.com/office/drawing/2014/main" id="{B6B975F0-4A41-42A2-99C1-DA898DAF7F6F}"/>
              </a:ext>
            </a:extLst>
          </p:cNvPr>
          <p:cNvSpPr/>
          <p:nvPr/>
        </p:nvSpPr>
        <p:spPr>
          <a:xfrm rot="5400000">
            <a:off x="2258961" y="1097606"/>
            <a:ext cx="267678" cy="3605396"/>
          </a:xfrm>
          <a:prstGeom prst="leftBrace">
            <a:avLst>
              <a:gd name="adj1" fmla="val 2386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Title 1">
            <a:extLst>
              <a:ext uri="{FF2B5EF4-FFF2-40B4-BE49-F238E27FC236}">
                <a16:creationId xmlns:a16="http://schemas.microsoft.com/office/drawing/2014/main" id="{ABFC3054-17B5-4AAA-8E84-3D2A6B18E458}"/>
              </a:ext>
            </a:extLst>
          </p:cNvPr>
          <p:cNvSpPr txBox="1">
            <a:spLocks/>
          </p:cNvSpPr>
          <p:nvPr/>
        </p:nvSpPr>
        <p:spPr bwMode="auto">
          <a:xfrm>
            <a:off x="1485516" y="2243670"/>
            <a:ext cx="1814568" cy="38552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solidFill>
                  <a:schemeClr val="tx1"/>
                </a:solidFill>
              </a:rPr>
              <a:t>Pre deal</a:t>
            </a:r>
            <a:endParaRPr lang="en-GB" kern="0" dirty="0">
              <a:solidFill>
                <a:schemeClr val="tx1"/>
              </a:solidFill>
            </a:endParaRPr>
          </a:p>
        </p:txBody>
      </p:sp>
      <p:sp>
        <p:nvSpPr>
          <p:cNvPr id="27" name="Title 1">
            <a:extLst>
              <a:ext uri="{FF2B5EF4-FFF2-40B4-BE49-F238E27FC236}">
                <a16:creationId xmlns:a16="http://schemas.microsoft.com/office/drawing/2014/main" id="{414ED311-E3A8-422B-8030-9E2E873EED6C}"/>
              </a:ext>
            </a:extLst>
          </p:cNvPr>
          <p:cNvSpPr txBox="1">
            <a:spLocks/>
          </p:cNvSpPr>
          <p:nvPr/>
        </p:nvSpPr>
        <p:spPr bwMode="auto">
          <a:xfrm>
            <a:off x="6919621" y="2243670"/>
            <a:ext cx="1814568" cy="38552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solidFill>
                  <a:schemeClr val="tx1"/>
                </a:solidFill>
              </a:rPr>
              <a:t>Post deal</a:t>
            </a:r>
            <a:endParaRPr lang="en-GB" kern="0" dirty="0">
              <a:solidFill>
                <a:schemeClr val="tx1"/>
              </a:solidFill>
            </a:endParaRPr>
          </a:p>
        </p:txBody>
      </p:sp>
    </p:spTree>
    <p:extLst>
      <p:ext uri="{BB962C8B-B14F-4D97-AF65-F5344CB8AC3E}">
        <p14:creationId xmlns:p14="http://schemas.microsoft.com/office/powerpoint/2010/main" val="26907142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91151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8564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1: High-level assessment of the two corporate cultur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6" name="Title 1">
            <a:extLst>
              <a:ext uri="{FF2B5EF4-FFF2-40B4-BE49-F238E27FC236}">
                <a16:creationId xmlns:a16="http://schemas.microsoft.com/office/drawing/2014/main" id="{E4564E6D-4722-4FD1-909C-0E2489270B20}"/>
              </a:ext>
            </a:extLst>
          </p:cNvPr>
          <p:cNvSpPr txBox="1">
            <a:spLocks/>
          </p:cNvSpPr>
          <p:nvPr/>
        </p:nvSpPr>
        <p:spPr bwMode="auto">
          <a:xfrm>
            <a:off x="613065" y="1607127"/>
            <a:ext cx="10974098" cy="166199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solidFill>
                  <a:schemeClr val="tx1"/>
                </a:solidFill>
              </a:rPr>
              <a:t>The phase 1 should occur pre-deal. Theoretically, once the High-level assessment of the two corporate cultures is done, a “Go or No Go” decision should be taken. However, in practice, most of the stakeholders will tend to only focus on the potential synergies that could be reached out of the deal.</a:t>
            </a:r>
          </a:p>
          <a:p>
            <a:endParaRPr lang="en-US" sz="1800" b="0" kern="0" dirty="0">
              <a:solidFill>
                <a:schemeClr val="tx1"/>
              </a:solidFill>
            </a:endParaRPr>
          </a:p>
          <a:p>
            <a:r>
              <a:rPr lang="en-US" sz="1800" b="0" kern="0" dirty="0">
                <a:solidFill>
                  <a:schemeClr val="tx1"/>
                </a:solidFill>
              </a:rPr>
              <a:t>The problem is that if the cultures of the acquiring and target companies are too far away, the synergy target identified pre-deal will almost never be reached. </a:t>
            </a:r>
          </a:p>
        </p:txBody>
      </p:sp>
    </p:spTree>
    <p:extLst>
      <p:ext uri="{BB962C8B-B14F-4D97-AF65-F5344CB8AC3E}">
        <p14:creationId xmlns:p14="http://schemas.microsoft.com/office/powerpoint/2010/main" val="2140429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49035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8666845"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2: Detailed level assessment of the two corporate cultures (1/3)</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6" name="Title 1">
            <a:extLst>
              <a:ext uri="{FF2B5EF4-FFF2-40B4-BE49-F238E27FC236}">
                <a16:creationId xmlns:a16="http://schemas.microsoft.com/office/drawing/2014/main" id="{E4564E6D-4722-4FD1-909C-0E2489270B20}"/>
              </a:ext>
            </a:extLst>
          </p:cNvPr>
          <p:cNvSpPr txBox="1">
            <a:spLocks/>
          </p:cNvSpPr>
          <p:nvPr/>
        </p:nvSpPr>
        <p:spPr bwMode="auto">
          <a:xfrm>
            <a:off x="613065" y="1607127"/>
            <a:ext cx="10974098" cy="38164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solidFill>
                  <a:schemeClr val="tx1"/>
                </a:solidFill>
              </a:rPr>
              <a:t>Developing a detailed level assessment of the two corporate cultures can be a little bit complex. We usually recommend to outsource this phase by using a third party such as, for example, Human Synergistics.</a:t>
            </a:r>
          </a:p>
          <a:p>
            <a:endParaRPr lang="en-US" sz="1800" b="0" kern="0" dirty="0">
              <a:solidFill>
                <a:schemeClr val="tx1"/>
              </a:solidFill>
            </a:endParaRPr>
          </a:p>
          <a:p>
            <a:pPr>
              <a:spcBef>
                <a:spcPts val="300"/>
              </a:spcBef>
              <a:spcAft>
                <a:spcPts val="300"/>
              </a:spcAft>
            </a:pPr>
            <a:r>
              <a:rPr lang="en-US" sz="1800" b="0" kern="0" dirty="0">
                <a:solidFill>
                  <a:schemeClr val="tx1"/>
                </a:solidFill>
              </a:rPr>
              <a:t>Human Synergistics uses a Circumplex tool which provides a way to see, measure, and change the thinking and behavioral styles proven to drive the performance of not only individuals, but also groups and organizations. it enables you to use a common language and visual model for development across 5 levels:</a:t>
            </a:r>
          </a:p>
          <a:p>
            <a:pPr marL="342900" indent="-342900">
              <a:spcBef>
                <a:spcPts val="600"/>
              </a:spcBef>
              <a:spcAft>
                <a:spcPts val="600"/>
              </a:spcAft>
              <a:buFont typeface="+mj-lt"/>
              <a:buAutoNum type="arabicPeriod"/>
            </a:pPr>
            <a:r>
              <a:rPr lang="en-US" sz="1800" kern="0" dirty="0">
                <a:solidFill>
                  <a:schemeClr val="tx1"/>
                </a:solidFill>
              </a:rPr>
              <a:t>Individual: </a:t>
            </a:r>
            <a:r>
              <a:rPr lang="en-US" sz="1800" b="0" kern="0" dirty="0">
                <a:solidFill>
                  <a:schemeClr val="tx1"/>
                </a:solidFill>
              </a:rPr>
              <a:t>Thinking and behavioral styles of leaders and other key members</a:t>
            </a:r>
          </a:p>
          <a:p>
            <a:pPr marL="342900" indent="-342900">
              <a:spcBef>
                <a:spcPts val="600"/>
              </a:spcBef>
              <a:spcAft>
                <a:spcPts val="600"/>
              </a:spcAft>
              <a:buFont typeface="+mj-lt"/>
              <a:buAutoNum type="arabicPeriod"/>
            </a:pPr>
            <a:r>
              <a:rPr lang="en-US" sz="1800" kern="0" dirty="0">
                <a:solidFill>
                  <a:schemeClr val="tx1"/>
                </a:solidFill>
              </a:rPr>
              <a:t>Leader/Manager: </a:t>
            </a:r>
            <a:r>
              <a:rPr lang="en-US" sz="1800" b="0" kern="0" dirty="0">
                <a:solidFill>
                  <a:schemeClr val="tx1"/>
                </a:solidFill>
              </a:rPr>
              <a:t>Impact of leaders/managers on the styles of the people around them</a:t>
            </a:r>
          </a:p>
          <a:p>
            <a:pPr marL="342900" indent="-342900">
              <a:spcBef>
                <a:spcPts val="600"/>
              </a:spcBef>
              <a:spcAft>
                <a:spcPts val="600"/>
              </a:spcAft>
              <a:buFont typeface="+mj-lt"/>
              <a:buAutoNum type="arabicPeriod"/>
            </a:pPr>
            <a:r>
              <a:rPr lang="en-US" sz="1800" kern="0" dirty="0">
                <a:solidFill>
                  <a:schemeClr val="tx1"/>
                </a:solidFill>
              </a:rPr>
              <a:t>Group: </a:t>
            </a:r>
            <a:r>
              <a:rPr lang="en-US" sz="1800" b="0" kern="0" dirty="0">
                <a:solidFill>
                  <a:schemeClr val="tx1"/>
                </a:solidFill>
              </a:rPr>
              <a:t>Interaction styles of members of problem-solving groups</a:t>
            </a:r>
          </a:p>
          <a:p>
            <a:pPr marL="342900" indent="-342900">
              <a:spcBef>
                <a:spcPts val="600"/>
              </a:spcBef>
              <a:spcAft>
                <a:spcPts val="600"/>
              </a:spcAft>
              <a:buFont typeface="+mj-lt"/>
              <a:buAutoNum type="arabicPeriod"/>
            </a:pPr>
            <a:r>
              <a:rPr lang="en-US" sz="1800" kern="0" dirty="0">
                <a:solidFill>
                  <a:schemeClr val="tx1"/>
                </a:solidFill>
              </a:rPr>
              <a:t>Organization: </a:t>
            </a:r>
            <a:r>
              <a:rPr lang="en-US" sz="1800" b="0" kern="0" dirty="0">
                <a:solidFill>
                  <a:schemeClr val="tx1"/>
                </a:solidFill>
              </a:rPr>
              <a:t>Organizational culture in terms of values (Ideal) and behavioral norms (Current)</a:t>
            </a:r>
          </a:p>
          <a:p>
            <a:pPr marL="342900" indent="-342900">
              <a:spcBef>
                <a:spcPts val="600"/>
              </a:spcBef>
              <a:spcAft>
                <a:spcPts val="600"/>
              </a:spcAft>
              <a:buFont typeface="+mj-lt"/>
              <a:buAutoNum type="arabicPeriod"/>
            </a:pPr>
            <a:r>
              <a:rPr lang="en-US" sz="1800" kern="0" dirty="0">
                <a:solidFill>
                  <a:schemeClr val="tx1"/>
                </a:solidFill>
              </a:rPr>
              <a:t>Customer: </a:t>
            </a:r>
            <a:r>
              <a:rPr lang="en-US" sz="1800" b="0" kern="0" dirty="0">
                <a:solidFill>
                  <a:schemeClr val="tx1"/>
                </a:solidFill>
              </a:rPr>
              <a:t>Styles exhibited by service providers when interacting with customers</a:t>
            </a:r>
          </a:p>
        </p:txBody>
      </p:sp>
    </p:spTree>
    <p:extLst>
      <p:ext uri="{BB962C8B-B14F-4D97-AF65-F5344CB8AC3E}">
        <p14:creationId xmlns:p14="http://schemas.microsoft.com/office/powerpoint/2010/main" val="1874727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511369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8509907"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2: Detailed assessment of the two corporate cultures (2/3)</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6" name="Title 1">
            <a:extLst>
              <a:ext uri="{FF2B5EF4-FFF2-40B4-BE49-F238E27FC236}">
                <a16:creationId xmlns:a16="http://schemas.microsoft.com/office/drawing/2014/main" id="{E4564E6D-4722-4FD1-909C-0E2489270B20}"/>
              </a:ext>
            </a:extLst>
          </p:cNvPr>
          <p:cNvSpPr txBox="1">
            <a:spLocks/>
          </p:cNvSpPr>
          <p:nvPr/>
        </p:nvSpPr>
        <p:spPr bwMode="auto">
          <a:xfrm>
            <a:off x="613065" y="1607127"/>
            <a:ext cx="10974098"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solidFill>
                  <a:schemeClr val="tx1"/>
                </a:solidFill>
              </a:rPr>
              <a:t>The Circumplex</a:t>
            </a:r>
            <a:endParaRPr lang="en-GB" sz="2000" kern="0" dirty="0">
              <a:solidFill>
                <a:schemeClr val="tx1"/>
              </a:solidFill>
            </a:endParaRPr>
          </a:p>
        </p:txBody>
      </p:sp>
      <p:pic>
        <p:nvPicPr>
          <p:cNvPr id="10" name="Picture 9">
            <a:extLst>
              <a:ext uri="{FF2B5EF4-FFF2-40B4-BE49-F238E27FC236}">
                <a16:creationId xmlns:a16="http://schemas.microsoft.com/office/drawing/2014/main" id="{518FA932-9776-4D2C-9B1E-99F4274FD4C2}"/>
              </a:ext>
            </a:extLst>
          </p:cNvPr>
          <p:cNvPicPr>
            <a:picLocks noChangeAspect="1"/>
          </p:cNvPicPr>
          <p:nvPr/>
        </p:nvPicPr>
        <p:blipFill>
          <a:blip r:embed="rId6"/>
          <a:stretch>
            <a:fillRect/>
          </a:stretch>
        </p:blipFill>
        <p:spPr>
          <a:xfrm>
            <a:off x="3974779" y="2010724"/>
            <a:ext cx="4242442" cy="4410858"/>
          </a:xfrm>
          <a:prstGeom prst="rect">
            <a:avLst/>
          </a:prstGeom>
        </p:spPr>
      </p:pic>
    </p:spTree>
    <p:extLst>
      <p:ext uri="{BB962C8B-B14F-4D97-AF65-F5344CB8AC3E}">
        <p14:creationId xmlns:p14="http://schemas.microsoft.com/office/powerpoint/2010/main" val="22192835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28966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722539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hase 2: Detailed assessment of the two corporate cultures (3/3)</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28" name="Arrow: Pentagon 27">
            <a:extLst>
              <a:ext uri="{FF2B5EF4-FFF2-40B4-BE49-F238E27FC236}">
                <a16:creationId xmlns:a16="http://schemas.microsoft.com/office/drawing/2014/main" id="{CB917092-6E14-4437-853C-B87580FF5590}"/>
              </a:ext>
            </a:extLst>
          </p:cNvPr>
          <p:cNvSpPr/>
          <p:nvPr/>
        </p:nvSpPr>
        <p:spPr>
          <a:xfrm>
            <a:off x="9726386" y="752182"/>
            <a:ext cx="512828" cy="316498"/>
          </a:xfrm>
          <a:prstGeom prst="homePlate">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29" name="Arrow: Chevron 28">
            <a:extLst>
              <a:ext uri="{FF2B5EF4-FFF2-40B4-BE49-F238E27FC236}">
                <a16:creationId xmlns:a16="http://schemas.microsoft.com/office/drawing/2014/main" id="{88052AFB-68E4-4185-8A11-0EB9238467B5}"/>
              </a:ext>
            </a:extLst>
          </p:cNvPr>
          <p:cNvSpPr/>
          <p:nvPr/>
        </p:nvSpPr>
        <p:spPr>
          <a:xfrm>
            <a:off x="10175702" y="752182"/>
            <a:ext cx="512828" cy="316498"/>
          </a:xfrm>
          <a:prstGeom prst="chevron">
            <a:avLst>
              <a:gd name="adj" fmla="val 2774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b="1" dirty="0">
              <a:solidFill>
                <a:schemeClr val="bg1"/>
              </a:solidFill>
            </a:endParaRPr>
          </a:p>
        </p:txBody>
      </p:sp>
      <p:sp>
        <p:nvSpPr>
          <p:cNvPr id="30" name="Arrow: Chevron 29">
            <a:extLst>
              <a:ext uri="{FF2B5EF4-FFF2-40B4-BE49-F238E27FC236}">
                <a16:creationId xmlns:a16="http://schemas.microsoft.com/office/drawing/2014/main" id="{05B1C748-9291-4092-B763-9B683E5EE470}"/>
              </a:ext>
            </a:extLst>
          </p:cNvPr>
          <p:cNvSpPr/>
          <p:nvPr/>
        </p:nvSpPr>
        <p:spPr>
          <a:xfrm>
            <a:off x="10625018" y="752182"/>
            <a:ext cx="512828" cy="316498"/>
          </a:xfrm>
          <a:prstGeom prst="chevron">
            <a:avLst>
              <a:gd name="adj" fmla="val 2774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1" name="Arrow: Chevron 30">
            <a:extLst>
              <a:ext uri="{FF2B5EF4-FFF2-40B4-BE49-F238E27FC236}">
                <a16:creationId xmlns:a16="http://schemas.microsoft.com/office/drawing/2014/main" id="{0618DCE6-9922-4629-BD88-65DA7AD921B7}"/>
              </a:ext>
            </a:extLst>
          </p:cNvPr>
          <p:cNvSpPr/>
          <p:nvPr/>
        </p:nvSpPr>
        <p:spPr>
          <a:xfrm>
            <a:off x="11074335" y="752182"/>
            <a:ext cx="512828" cy="316498"/>
          </a:xfrm>
          <a:prstGeom prst="chevron">
            <a:avLst>
              <a:gd name="adj" fmla="val 2654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AU" sz="1600" b="1" dirty="0">
              <a:solidFill>
                <a:schemeClr val="bg1"/>
              </a:solidFill>
            </a:endParaRPr>
          </a:p>
        </p:txBody>
      </p:sp>
      <p:sp>
        <p:nvSpPr>
          <p:cNvPr id="36" name="Title 1">
            <a:extLst>
              <a:ext uri="{FF2B5EF4-FFF2-40B4-BE49-F238E27FC236}">
                <a16:creationId xmlns:a16="http://schemas.microsoft.com/office/drawing/2014/main" id="{E4564E6D-4722-4FD1-909C-0E2489270B20}"/>
              </a:ext>
            </a:extLst>
          </p:cNvPr>
          <p:cNvSpPr txBox="1">
            <a:spLocks/>
          </p:cNvSpPr>
          <p:nvPr/>
        </p:nvSpPr>
        <p:spPr bwMode="auto">
          <a:xfrm>
            <a:off x="613065" y="1607127"/>
            <a:ext cx="10974098"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solidFill>
                  <a:schemeClr val="tx1"/>
                </a:solidFill>
              </a:rPr>
              <a:t>Illustration</a:t>
            </a:r>
          </a:p>
        </p:txBody>
      </p:sp>
      <p:pic>
        <p:nvPicPr>
          <p:cNvPr id="11" name="Picture 7" descr="~hsProdMan_circ1">
            <a:extLst>
              <a:ext uri="{FF2B5EF4-FFF2-40B4-BE49-F238E27FC236}">
                <a16:creationId xmlns:a16="http://schemas.microsoft.com/office/drawing/2014/main" id="{1BF28F3F-6A88-44E2-9155-9F1FB370D337}"/>
              </a:ext>
            </a:extLst>
          </p:cNvPr>
          <p:cNvPicPr>
            <a:picLocks noChangeAspect="1" noChangeArrowheads="1"/>
          </p:cNvPicPr>
          <p:nvPr/>
        </p:nvPicPr>
        <p:blipFill>
          <a:blip r:embed="rId6" cstate="print"/>
          <a:srcRect/>
          <a:stretch>
            <a:fillRect/>
          </a:stretch>
        </p:blipFill>
        <p:spPr bwMode="auto">
          <a:xfrm>
            <a:off x="2068182" y="2551023"/>
            <a:ext cx="3820616" cy="3819183"/>
          </a:xfrm>
          <a:prstGeom prst="rect">
            <a:avLst/>
          </a:prstGeom>
          <a:noFill/>
          <a:ln w="9525">
            <a:noFill/>
            <a:miter lim="800000"/>
            <a:headEnd/>
            <a:tailEnd/>
          </a:ln>
          <a:effectLst/>
        </p:spPr>
      </p:pic>
      <p:pic>
        <p:nvPicPr>
          <p:cNvPr id="12" name="Picture 11">
            <a:extLst>
              <a:ext uri="{FF2B5EF4-FFF2-40B4-BE49-F238E27FC236}">
                <a16:creationId xmlns:a16="http://schemas.microsoft.com/office/drawing/2014/main" id="{917FA32C-C297-4C17-B2AA-30C12E7E0B9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03202" y="2551023"/>
            <a:ext cx="3820616" cy="3820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itle 1">
            <a:extLst>
              <a:ext uri="{FF2B5EF4-FFF2-40B4-BE49-F238E27FC236}">
                <a16:creationId xmlns:a16="http://schemas.microsoft.com/office/drawing/2014/main" id="{6ED94419-64E2-4A59-A840-826B7A9A709C}"/>
              </a:ext>
            </a:extLst>
          </p:cNvPr>
          <p:cNvSpPr txBox="1">
            <a:spLocks/>
          </p:cNvSpPr>
          <p:nvPr/>
        </p:nvSpPr>
        <p:spPr bwMode="auto">
          <a:xfrm>
            <a:off x="2068182" y="2035515"/>
            <a:ext cx="3820616" cy="427130"/>
          </a:xfrm>
          <a:prstGeom prst="rect">
            <a:avLst/>
          </a:prstGeom>
          <a:solidFill>
            <a:schemeClr val="tx1"/>
          </a:solidFill>
          <a:ln w="9525">
            <a:noFill/>
            <a:miter lim="800000"/>
            <a:headEnd/>
            <a:tailEnd/>
          </a:ln>
        </p:spPr>
        <p:txBody>
          <a:bodyPr vert="horz" wrap="square" lIns="0" tIns="0" rIns="0" bIns="0" numCol="1" anchor="ctr"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600" kern="0" dirty="0">
                <a:solidFill>
                  <a:schemeClr val="bg1"/>
                </a:solidFill>
              </a:rPr>
              <a:t>Acquiring company current state</a:t>
            </a:r>
            <a:endParaRPr lang="en-GB" sz="1800" kern="0" dirty="0">
              <a:solidFill>
                <a:schemeClr val="bg1"/>
              </a:solidFill>
            </a:endParaRPr>
          </a:p>
        </p:txBody>
      </p:sp>
      <p:sp>
        <p:nvSpPr>
          <p:cNvPr id="15" name="Title 1">
            <a:extLst>
              <a:ext uri="{FF2B5EF4-FFF2-40B4-BE49-F238E27FC236}">
                <a16:creationId xmlns:a16="http://schemas.microsoft.com/office/drawing/2014/main" id="{BFEECE71-B7F1-41E4-80EB-2F067B2B8BB9}"/>
              </a:ext>
            </a:extLst>
          </p:cNvPr>
          <p:cNvSpPr txBox="1">
            <a:spLocks/>
          </p:cNvSpPr>
          <p:nvPr/>
        </p:nvSpPr>
        <p:spPr bwMode="auto">
          <a:xfrm>
            <a:off x="6335382" y="2035515"/>
            <a:ext cx="3820616" cy="427130"/>
          </a:xfrm>
          <a:prstGeom prst="rect">
            <a:avLst/>
          </a:prstGeom>
          <a:solidFill>
            <a:schemeClr val="tx1"/>
          </a:solidFill>
          <a:ln w="9525">
            <a:noFill/>
            <a:miter lim="800000"/>
            <a:headEnd/>
            <a:tailEnd/>
          </a:ln>
        </p:spPr>
        <p:txBody>
          <a:bodyPr vert="horz" wrap="square" lIns="0" tIns="0" rIns="0" bIns="0" numCol="1" anchor="ctr"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600" kern="0" dirty="0">
                <a:solidFill>
                  <a:schemeClr val="bg1"/>
                </a:solidFill>
              </a:rPr>
              <a:t>Acquired company current state</a:t>
            </a:r>
            <a:endParaRPr lang="en-GB" sz="1800" kern="0" dirty="0">
              <a:solidFill>
                <a:schemeClr val="bg1"/>
              </a:solidFill>
            </a:endParaRPr>
          </a:p>
        </p:txBody>
      </p:sp>
    </p:spTree>
    <p:extLst>
      <p:ext uri="{BB962C8B-B14F-4D97-AF65-F5344CB8AC3E}">
        <p14:creationId xmlns:p14="http://schemas.microsoft.com/office/powerpoint/2010/main" val="786852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413</TotalTime>
  <Words>1529</Words>
  <Application>Microsoft Office PowerPoint</Application>
  <PresentationFormat>Widescreen</PresentationFormat>
  <Paragraphs>117</Paragraphs>
  <Slides>12</Slides>
  <Notes>12</Notes>
  <HiddenSlides>0</HiddenSlides>
  <MMClips>0</MMClips>
  <ScaleCrop>false</ScaleCrop>
  <HeadingPairs>
    <vt:vector size="8" baseType="variant">
      <vt:variant>
        <vt:lpstr>Fonts Used</vt:lpstr>
      </vt:variant>
      <vt:variant>
        <vt:i4>3</vt:i4>
      </vt:variant>
      <vt:variant>
        <vt:lpstr>Theme</vt:lpstr>
      </vt:variant>
      <vt:variant>
        <vt:i4>9</vt:i4>
      </vt:variant>
      <vt:variant>
        <vt:lpstr>Embedded OLE Servers</vt:lpstr>
      </vt:variant>
      <vt:variant>
        <vt:i4>1</vt:i4>
      </vt:variant>
      <vt:variant>
        <vt:lpstr>Slide Titles</vt:lpstr>
      </vt:variant>
      <vt:variant>
        <vt:i4>12</vt:i4>
      </vt:variant>
    </vt:vector>
  </HeadingPairs>
  <TitlesOfParts>
    <vt:vector size="25" baseType="lpstr">
      <vt:lpstr>Arial</vt:lpstr>
      <vt:lpstr>Calibri</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Culture Integration Strategy and Plan</vt:lpstr>
      <vt:lpstr>Culture integration strategy and plan</vt:lpstr>
      <vt:lpstr>There are many examples of mergers that didn’t work because of Cultural issues (1/2):</vt:lpstr>
      <vt:lpstr>There are many examples of mergers that didn’t work because of Cultural issues (2/2):</vt:lpstr>
      <vt:lpstr>See below a proven approach to mitigate the risk of failure due to cultural mismatch</vt:lpstr>
      <vt:lpstr>Phase 1: High-level assessment of the two corporate cultures</vt:lpstr>
      <vt:lpstr>Phase 2: Detailed level assessment of the two corporate cultures (1/3)</vt:lpstr>
      <vt:lpstr>Phase 2: Detailed assessment of the two corporate cultures (2/3)</vt:lpstr>
      <vt:lpstr>Phase 2: Detailed assessment of the two corporate cultures (3/3)</vt:lpstr>
      <vt:lpstr>Phase 3: New corporate culture design</vt:lpstr>
      <vt:lpstr>Phase 4: New corporate culture implementation</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3-01-30T05:32:0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